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7" r:id="rId1"/>
  </p:sldMasterIdLst>
  <p:notesMasterIdLst>
    <p:notesMasterId r:id="rId37"/>
  </p:notesMasterIdLst>
  <p:handoutMasterIdLst>
    <p:handoutMasterId r:id="rId38"/>
  </p:handoutMasterIdLst>
  <p:sldIdLst>
    <p:sldId id="301" r:id="rId2"/>
    <p:sldId id="369" r:id="rId3"/>
    <p:sldId id="368" r:id="rId4"/>
    <p:sldId id="378" r:id="rId5"/>
    <p:sldId id="379" r:id="rId6"/>
    <p:sldId id="365" r:id="rId7"/>
    <p:sldId id="372" r:id="rId8"/>
    <p:sldId id="388" r:id="rId9"/>
    <p:sldId id="366" r:id="rId10"/>
    <p:sldId id="385" r:id="rId11"/>
    <p:sldId id="391" r:id="rId12"/>
    <p:sldId id="373" r:id="rId13"/>
    <p:sldId id="392" r:id="rId14"/>
    <p:sldId id="374" r:id="rId15"/>
    <p:sldId id="393" r:id="rId16"/>
    <p:sldId id="375" r:id="rId17"/>
    <p:sldId id="380" r:id="rId18"/>
    <p:sldId id="394" r:id="rId19"/>
    <p:sldId id="395" r:id="rId20"/>
    <p:sldId id="376" r:id="rId21"/>
    <p:sldId id="407" r:id="rId22"/>
    <p:sldId id="396" r:id="rId23"/>
    <p:sldId id="397" r:id="rId24"/>
    <p:sldId id="398" r:id="rId25"/>
    <p:sldId id="399" r:id="rId26"/>
    <p:sldId id="400" r:id="rId27"/>
    <p:sldId id="401" r:id="rId28"/>
    <p:sldId id="402" r:id="rId29"/>
    <p:sldId id="403" r:id="rId30"/>
    <p:sldId id="377" r:id="rId31"/>
    <p:sldId id="386" r:id="rId32"/>
    <p:sldId id="367" r:id="rId33"/>
    <p:sldId id="389" r:id="rId34"/>
    <p:sldId id="390" r:id="rId35"/>
    <p:sldId id="339" r:id="rId36"/>
  </p:sldIdLst>
  <p:sldSz cx="9144000" cy="6858000" type="screen4x3"/>
  <p:notesSz cx="7010400" cy="9296400"/>
  <p:custDataLst>
    <p:tags r:id="rId3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000"/>
    <a:srgbClr val="9DB1CF"/>
    <a:srgbClr val="99CCFF"/>
    <a:srgbClr val="4FA7FF"/>
    <a:srgbClr val="FFE4AF"/>
    <a:srgbClr val="FFCC66"/>
    <a:srgbClr val="006FDE"/>
    <a:srgbClr val="0984FF"/>
    <a:srgbClr val="65B2FF"/>
    <a:srgbClr val="0091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2" autoAdjust="0"/>
    <p:restoredTop sz="95238" autoAdjust="0"/>
  </p:normalViewPr>
  <p:slideViewPr>
    <p:cSldViewPr>
      <p:cViewPr varScale="1">
        <p:scale>
          <a:sx n="65" d="100"/>
          <a:sy n="65" d="100"/>
        </p:scale>
        <p:origin x="-1306" y="-8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5952"/>
    </p:cViewPr>
  </p:sorterViewPr>
  <p:notesViewPr>
    <p:cSldViewPr>
      <p:cViewPr varScale="1">
        <p:scale>
          <a:sx n="51" d="100"/>
          <a:sy n="51" d="100"/>
        </p:scale>
        <p:origin x="-2717" y="-86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BE7D58A-D3BE-4BE4-A5D4-292BC9F59992}" type="doc">
      <dgm:prSet loTypeId="urn:microsoft.com/office/officeart/2005/8/layout/hierarchy3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3FACFE7-1B95-4E9B-909A-B92DF4002740}">
      <dgm:prSet phldrT="[Text]"/>
      <dgm:spPr>
        <a:solidFill>
          <a:schemeClr val="accent3">
            <a:lumMod val="50000"/>
          </a:schemeClr>
        </a:solidFill>
      </dgm:spPr>
      <dgm:t>
        <a:bodyPr/>
        <a:lstStyle/>
        <a:p>
          <a:r>
            <a:rPr lang="en-US" dirty="0" smtClean="0"/>
            <a:t>Applications</a:t>
          </a:r>
          <a:endParaRPr lang="en-US" dirty="0"/>
        </a:p>
      </dgm:t>
    </dgm:pt>
    <dgm:pt modelId="{4006B834-743A-40FD-BD52-9827C6BFE43F}" type="parTrans" cxnId="{9DF05FA4-812D-45F0-8A31-3C1162594ACF}">
      <dgm:prSet/>
      <dgm:spPr/>
      <dgm:t>
        <a:bodyPr/>
        <a:lstStyle/>
        <a:p>
          <a:endParaRPr lang="en-US"/>
        </a:p>
      </dgm:t>
    </dgm:pt>
    <dgm:pt modelId="{9B7ADDC0-BBBC-47AF-B1FE-20E447031947}" type="sibTrans" cxnId="{9DF05FA4-812D-45F0-8A31-3C1162594ACF}">
      <dgm:prSet/>
      <dgm:spPr/>
      <dgm:t>
        <a:bodyPr/>
        <a:lstStyle/>
        <a:p>
          <a:endParaRPr lang="en-US"/>
        </a:p>
      </dgm:t>
    </dgm:pt>
    <dgm:pt modelId="{9ADC2949-CEC6-406B-99B7-9936379B87AC}">
      <dgm:prSet phldrT="[Text]"/>
      <dgm:spPr>
        <a:ln>
          <a:solidFill>
            <a:schemeClr val="accent3">
              <a:lumMod val="50000"/>
            </a:schemeClr>
          </a:solidFill>
        </a:ln>
      </dgm:spPr>
      <dgm:t>
        <a:bodyPr/>
        <a:lstStyle/>
        <a:p>
          <a:r>
            <a:rPr lang="en-US" dirty="0" smtClean="0"/>
            <a:t>Credit Scoring</a:t>
          </a:r>
          <a:endParaRPr lang="en-US" dirty="0"/>
        </a:p>
      </dgm:t>
    </dgm:pt>
    <dgm:pt modelId="{0E154189-BE59-4CB0-B47C-D728CC0BF7D2}" type="parTrans" cxnId="{903C2FC3-6D6A-4E6C-A0A0-223BE92BD1EF}">
      <dgm:prSet/>
      <dgm:spPr>
        <a:ln>
          <a:solidFill>
            <a:schemeClr val="accent3">
              <a:lumMod val="50000"/>
            </a:schemeClr>
          </a:solidFill>
        </a:ln>
      </dgm:spPr>
      <dgm:t>
        <a:bodyPr/>
        <a:lstStyle/>
        <a:p>
          <a:endParaRPr lang="en-US"/>
        </a:p>
      </dgm:t>
    </dgm:pt>
    <dgm:pt modelId="{616AD290-9D1C-46FB-A39B-AF02D16F624A}" type="sibTrans" cxnId="{903C2FC3-6D6A-4E6C-A0A0-223BE92BD1EF}">
      <dgm:prSet/>
      <dgm:spPr/>
      <dgm:t>
        <a:bodyPr/>
        <a:lstStyle/>
        <a:p>
          <a:endParaRPr lang="en-US"/>
        </a:p>
      </dgm:t>
    </dgm:pt>
    <dgm:pt modelId="{00B11E5E-4F3C-435B-BA9A-00EE25D553F9}">
      <dgm:prSet phldrT="[Text]"/>
      <dgm:spPr>
        <a:ln>
          <a:solidFill>
            <a:schemeClr val="accent3">
              <a:lumMod val="50000"/>
            </a:schemeClr>
          </a:solidFill>
        </a:ln>
      </dgm:spPr>
      <dgm:t>
        <a:bodyPr/>
        <a:lstStyle/>
        <a:p>
          <a:r>
            <a:rPr lang="en-US" dirty="0" smtClean="0"/>
            <a:t>Fraud Detection</a:t>
          </a:r>
          <a:endParaRPr lang="en-US" dirty="0"/>
        </a:p>
      </dgm:t>
    </dgm:pt>
    <dgm:pt modelId="{28F6CDE3-DCD0-4BAD-A6EB-FEEDBF02740B}" type="parTrans" cxnId="{5BFB158D-20B9-4D7D-A828-0E3A0BC44F8B}">
      <dgm:prSet/>
      <dgm:spPr>
        <a:ln>
          <a:solidFill>
            <a:schemeClr val="accent3">
              <a:lumMod val="50000"/>
            </a:schemeClr>
          </a:solidFill>
        </a:ln>
      </dgm:spPr>
      <dgm:t>
        <a:bodyPr/>
        <a:lstStyle/>
        <a:p>
          <a:endParaRPr lang="en-US"/>
        </a:p>
      </dgm:t>
    </dgm:pt>
    <dgm:pt modelId="{F83E4BF7-D0FE-4345-AD17-242F44F15DDD}" type="sibTrans" cxnId="{5BFB158D-20B9-4D7D-A828-0E3A0BC44F8B}">
      <dgm:prSet/>
      <dgm:spPr/>
      <dgm:t>
        <a:bodyPr/>
        <a:lstStyle/>
        <a:p>
          <a:endParaRPr lang="en-US"/>
        </a:p>
      </dgm:t>
    </dgm:pt>
    <dgm:pt modelId="{B2B7D77F-D1CA-4633-A8AE-75BBC8BC6688}">
      <dgm:prSet phldrT="[Text]"/>
      <dgm:spPr>
        <a:solidFill>
          <a:srgbClr val="008000"/>
        </a:solidFill>
      </dgm:spPr>
      <dgm:t>
        <a:bodyPr/>
        <a:lstStyle/>
        <a:p>
          <a:r>
            <a:rPr lang="en-US" dirty="0" smtClean="0"/>
            <a:t>Actions</a:t>
          </a:r>
          <a:endParaRPr lang="en-US" dirty="0"/>
        </a:p>
      </dgm:t>
    </dgm:pt>
    <dgm:pt modelId="{EE91DA38-4AD7-4904-BD98-CD3EDF2DBA78}" type="parTrans" cxnId="{0EC96FAF-D6E9-43AE-9D4D-9C5BB00E84CF}">
      <dgm:prSet/>
      <dgm:spPr/>
      <dgm:t>
        <a:bodyPr/>
        <a:lstStyle/>
        <a:p>
          <a:endParaRPr lang="en-US"/>
        </a:p>
      </dgm:t>
    </dgm:pt>
    <dgm:pt modelId="{8C10C461-AD06-4DBE-BCB0-A29E80F873D4}" type="sibTrans" cxnId="{0EC96FAF-D6E9-43AE-9D4D-9C5BB00E84CF}">
      <dgm:prSet/>
      <dgm:spPr/>
      <dgm:t>
        <a:bodyPr/>
        <a:lstStyle/>
        <a:p>
          <a:endParaRPr lang="en-US"/>
        </a:p>
      </dgm:t>
    </dgm:pt>
    <dgm:pt modelId="{E93011E5-C9D7-4121-8ECD-1909CF235860}">
      <dgm:prSet phldrT="[Text]"/>
      <dgm:spPr>
        <a:ln>
          <a:solidFill>
            <a:srgbClr val="008000"/>
          </a:solidFill>
        </a:ln>
      </dgm:spPr>
      <dgm:t>
        <a:bodyPr/>
        <a:lstStyle/>
        <a:p>
          <a:r>
            <a:rPr lang="en-US" dirty="0" smtClean="0"/>
            <a:t>Classify</a:t>
          </a:r>
          <a:endParaRPr lang="en-US" dirty="0"/>
        </a:p>
      </dgm:t>
    </dgm:pt>
    <dgm:pt modelId="{B5ED919F-6C63-4E30-9A1C-64798D9921E4}" type="parTrans" cxnId="{FBD09AED-15B4-4321-8800-CC41B889AFD2}">
      <dgm:prSet/>
      <dgm:spPr>
        <a:ln>
          <a:solidFill>
            <a:srgbClr val="008000"/>
          </a:solidFill>
        </a:ln>
      </dgm:spPr>
      <dgm:t>
        <a:bodyPr/>
        <a:lstStyle/>
        <a:p>
          <a:endParaRPr lang="en-US"/>
        </a:p>
      </dgm:t>
    </dgm:pt>
    <dgm:pt modelId="{A92FA6D4-9FD8-4A23-9997-5128C1FD242A}" type="sibTrans" cxnId="{FBD09AED-15B4-4321-8800-CC41B889AFD2}">
      <dgm:prSet/>
      <dgm:spPr/>
      <dgm:t>
        <a:bodyPr/>
        <a:lstStyle/>
        <a:p>
          <a:endParaRPr lang="en-US"/>
        </a:p>
      </dgm:t>
    </dgm:pt>
    <dgm:pt modelId="{06DA29E8-D8D1-437E-AB6A-D9EF3411AC2E}">
      <dgm:prSet phldrT="[Text]"/>
      <dgm:spPr>
        <a:ln>
          <a:solidFill>
            <a:srgbClr val="008000"/>
          </a:solidFill>
        </a:ln>
      </dgm:spPr>
      <dgm:t>
        <a:bodyPr/>
        <a:lstStyle/>
        <a:p>
          <a:r>
            <a:rPr lang="en-US" dirty="0" smtClean="0"/>
            <a:t>Predict</a:t>
          </a:r>
          <a:endParaRPr lang="en-US" dirty="0"/>
        </a:p>
      </dgm:t>
    </dgm:pt>
    <dgm:pt modelId="{BBD4041E-BCAE-43D6-AA6D-C2C295ABF3E4}" type="parTrans" cxnId="{DA1446BB-BD81-4E61-9D7B-2F7DCA68CC15}">
      <dgm:prSet/>
      <dgm:spPr>
        <a:ln>
          <a:solidFill>
            <a:srgbClr val="008000"/>
          </a:solidFill>
        </a:ln>
      </dgm:spPr>
      <dgm:t>
        <a:bodyPr/>
        <a:lstStyle/>
        <a:p>
          <a:endParaRPr lang="en-US"/>
        </a:p>
      </dgm:t>
    </dgm:pt>
    <dgm:pt modelId="{AC6B0667-5C14-42C3-9E10-59DCB4C53C5B}" type="sibTrans" cxnId="{DA1446BB-BD81-4E61-9D7B-2F7DCA68CC15}">
      <dgm:prSet/>
      <dgm:spPr/>
      <dgm:t>
        <a:bodyPr/>
        <a:lstStyle/>
        <a:p>
          <a:endParaRPr lang="en-US"/>
        </a:p>
      </dgm:t>
    </dgm:pt>
    <dgm:pt modelId="{AA639053-9D11-484B-919C-4AF0960F5B7D}">
      <dgm:prSet/>
      <dgm:spPr>
        <a:ln>
          <a:solidFill>
            <a:schemeClr val="accent3">
              <a:lumMod val="50000"/>
            </a:schemeClr>
          </a:solidFill>
        </a:ln>
      </dgm:spPr>
      <dgm:t>
        <a:bodyPr/>
        <a:lstStyle/>
        <a:p>
          <a:r>
            <a:rPr lang="en-US" dirty="0" smtClean="0"/>
            <a:t>Ad Optimization</a:t>
          </a:r>
          <a:endParaRPr lang="en-US" dirty="0"/>
        </a:p>
      </dgm:t>
    </dgm:pt>
    <dgm:pt modelId="{BF478821-AB98-4CD6-B7A9-492AFEBE3CC8}" type="parTrans" cxnId="{A46E0089-00D8-47D2-AD77-B37AA4872CD5}">
      <dgm:prSet/>
      <dgm:spPr>
        <a:ln>
          <a:solidFill>
            <a:schemeClr val="accent3">
              <a:lumMod val="50000"/>
            </a:schemeClr>
          </a:solidFill>
        </a:ln>
      </dgm:spPr>
      <dgm:t>
        <a:bodyPr/>
        <a:lstStyle/>
        <a:p>
          <a:endParaRPr lang="en-US"/>
        </a:p>
      </dgm:t>
    </dgm:pt>
    <dgm:pt modelId="{13F8DE4C-3EEC-49FB-8A26-0A3E3328E72E}" type="sibTrans" cxnId="{A46E0089-00D8-47D2-AD77-B37AA4872CD5}">
      <dgm:prSet/>
      <dgm:spPr/>
      <dgm:t>
        <a:bodyPr/>
        <a:lstStyle/>
        <a:p>
          <a:endParaRPr lang="en-US"/>
        </a:p>
      </dgm:t>
    </dgm:pt>
    <dgm:pt modelId="{56937CFE-847B-4E50-BCEC-B5492E1E0467}">
      <dgm:prSet/>
      <dgm:spPr>
        <a:ln>
          <a:solidFill>
            <a:schemeClr val="accent3">
              <a:lumMod val="50000"/>
            </a:schemeClr>
          </a:solidFill>
        </a:ln>
      </dgm:spPr>
      <dgm:t>
        <a:bodyPr/>
        <a:lstStyle/>
        <a:p>
          <a:r>
            <a:rPr lang="en-US" dirty="0" smtClean="0"/>
            <a:t>Recommendation systems</a:t>
          </a:r>
          <a:endParaRPr lang="en-US" dirty="0"/>
        </a:p>
      </dgm:t>
    </dgm:pt>
    <dgm:pt modelId="{77B5CA90-E886-468B-834F-03F0E91630A4}" type="parTrans" cxnId="{FD82A23D-9D40-4D8A-B2E2-652DE7521F95}">
      <dgm:prSet/>
      <dgm:spPr>
        <a:ln>
          <a:solidFill>
            <a:schemeClr val="accent3">
              <a:lumMod val="50000"/>
            </a:schemeClr>
          </a:solidFill>
        </a:ln>
      </dgm:spPr>
      <dgm:t>
        <a:bodyPr/>
        <a:lstStyle/>
        <a:p>
          <a:endParaRPr lang="en-US"/>
        </a:p>
      </dgm:t>
    </dgm:pt>
    <dgm:pt modelId="{02F269FE-2E9E-4CB7-B5F1-C369A999B92C}" type="sibTrans" cxnId="{FD82A23D-9D40-4D8A-B2E2-652DE7521F95}">
      <dgm:prSet/>
      <dgm:spPr/>
      <dgm:t>
        <a:bodyPr/>
        <a:lstStyle/>
        <a:p>
          <a:endParaRPr lang="en-US"/>
        </a:p>
      </dgm:t>
    </dgm:pt>
    <dgm:pt modelId="{A1443DD4-95EA-4B40-945F-22DF8E8AB444}">
      <dgm:prSet/>
      <dgm:spPr>
        <a:ln>
          <a:solidFill>
            <a:schemeClr val="accent3">
              <a:lumMod val="50000"/>
            </a:schemeClr>
          </a:solidFill>
        </a:ln>
      </dgm:spPr>
      <dgm:t>
        <a:bodyPr/>
        <a:lstStyle/>
        <a:p>
          <a:r>
            <a:rPr lang="en-US" dirty="0" smtClean="0"/>
            <a:t>Targeted Marketing</a:t>
          </a:r>
          <a:endParaRPr lang="en-US" dirty="0"/>
        </a:p>
      </dgm:t>
    </dgm:pt>
    <dgm:pt modelId="{B013AFA7-3EA9-4BC6-A4EE-061A057AE83E}" type="parTrans" cxnId="{2CC2BE19-7A47-4CD2-912B-938F3448B960}">
      <dgm:prSet/>
      <dgm:spPr>
        <a:ln>
          <a:solidFill>
            <a:schemeClr val="accent3">
              <a:lumMod val="50000"/>
            </a:schemeClr>
          </a:solidFill>
        </a:ln>
      </dgm:spPr>
      <dgm:t>
        <a:bodyPr/>
        <a:lstStyle/>
        <a:p>
          <a:endParaRPr lang="en-US"/>
        </a:p>
      </dgm:t>
    </dgm:pt>
    <dgm:pt modelId="{0389D69B-A1C1-470F-9342-85C69FEED660}" type="sibTrans" cxnId="{2CC2BE19-7A47-4CD2-912B-938F3448B960}">
      <dgm:prSet/>
      <dgm:spPr/>
      <dgm:t>
        <a:bodyPr/>
        <a:lstStyle/>
        <a:p>
          <a:endParaRPr lang="en-US"/>
        </a:p>
      </dgm:t>
    </dgm:pt>
    <dgm:pt modelId="{5C057080-3273-4FCD-8B88-5264008E10EF}">
      <dgm:prSet/>
      <dgm:spPr>
        <a:ln>
          <a:solidFill>
            <a:schemeClr val="accent3">
              <a:lumMod val="50000"/>
            </a:schemeClr>
          </a:solidFill>
        </a:ln>
      </dgm:spPr>
      <dgm:t>
        <a:bodyPr/>
        <a:lstStyle/>
        <a:p>
          <a:r>
            <a:rPr lang="en-US" dirty="0" smtClean="0"/>
            <a:t>Gene Detection</a:t>
          </a:r>
          <a:endParaRPr lang="en-US" dirty="0"/>
        </a:p>
      </dgm:t>
    </dgm:pt>
    <dgm:pt modelId="{C45AB93F-E226-4DF9-AFFA-1849F54BB0DC}" type="parTrans" cxnId="{A4A42835-808E-41F3-A6CD-9F9D9377695D}">
      <dgm:prSet/>
      <dgm:spPr>
        <a:ln>
          <a:solidFill>
            <a:schemeClr val="accent3">
              <a:lumMod val="50000"/>
            </a:schemeClr>
          </a:solidFill>
        </a:ln>
      </dgm:spPr>
      <dgm:t>
        <a:bodyPr/>
        <a:lstStyle/>
        <a:p>
          <a:endParaRPr lang="en-US"/>
        </a:p>
      </dgm:t>
    </dgm:pt>
    <dgm:pt modelId="{ACCCDC2D-C5CC-4238-A38C-B77ED840B02C}" type="sibTrans" cxnId="{A4A42835-808E-41F3-A6CD-9F9D9377695D}">
      <dgm:prSet/>
      <dgm:spPr/>
      <dgm:t>
        <a:bodyPr/>
        <a:lstStyle/>
        <a:p>
          <a:endParaRPr lang="en-US"/>
        </a:p>
      </dgm:t>
    </dgm:pt>
    <dgm:pt modelId="{963CF1A4-A258-4448-B9D6-342364CDFF4B}">
      <dgm:prSet/>
      <dgm:spPr/>
      <dgm:t>
        <a:bodyPr/>
        <a:lstStyle/>
        <a:p>
          <a:r>
            <a:rPr lang="en-US" dirty="0" smtClean="0"/>
            <a:t>Algorithms</a:t>
          </a:r>
          <a:endParaRPr lang="en-US" dirty="0"/>
        </a:p>
      </dgm:t>
    </dgm:pt>
    <dgm:pt modelId="{137C2467-14BF-4C8C-BFFD-22D377F7C94B}" type="parTrans" cxnId="{9116A8FD-9D9F-4340-B125-E12498571E43}">
      <dgm:prSet/>
      <dgm:spPr/>
      <dgm:t>
        <a:bodyPr/>
        <a:lstStyle/>
        <a:p>
          <a:endParaRPr lang="en-US"/>
        </a:p>
      </dgm:t>
    </dgm:pt>
    <dgm:pt modelId="{A7E7A2C3-47CE-4313-8057-36744B83BACF}" type="sibTrans" cxnId="{9116A8FD-9D9F-4340-B125-E12498571E43}">
      <dgm:prSet/>
      <dgm:spPr/>
      <dgm:t>
        <a:bodyPr/>
        <a:lstStyle/>
        <a:p>
          <a:endParaRPr lang="en-US"/>
        </a:p>
      </dgm:t>
    </dgm:pt>
    <dgm:pt modelId="{7C034425-C389-49F9-86D1-C5F9C82746F3}">
      <dgm:prSet/>
      <dgm:spPr/>
      <dgm:t>
        <a:bodyPr/>
        <a:lstStyle/>
        <a:p>
          <a:r>
            <a:rPr lang="en-US" dirty="0" smtClean="0"/>
            <a:t>CART</a:t>
          </a:r>
          <a:endParaRPr lang="en-US" dirty="0"/>
        </a:p>
      </dgm:t>
    </dgm:pt>
    <dgm:pt modelId="{7756079A-0520-40F6-8489-CF3DA66A34D9}" type="parTrans" cxnId="{F581565B-E57F-4EFF-B189-224CE5F5AC32}">
      <dgm:prSet/>
      <dgm:spPr/>
      <dgm:t>
        <a:bodyPr/>
        <a:lstStyle/>
        <a:p>
          <a:endParaRPr lang="en-US"/>
        </a:p>
      </dgm:t>
    </dgm:pt>
    <dgm:pt modelId="{FAB472BF-1416-4637-A925-D579394F6857}" type="sibTrans" cxnId="{F581565B-E57F-4EFF-B189-224CE5F5AC32}">
      <dgm:prSet/>
      <dgm:spPr/>
      <dgm:t>
        <a:bodyPr/>
        <a:lstStyle/>
        <a:p>
          <a:endParaRPr lang="en-US"/>
        </a:p>
      </dgm:t>
    </dgm:pt>
    <dgm:pt modelId="{56C762C6-B270-4747-9E68-EF5DF91E2127}">
      <dgm:prSet/>
      <dgm:spPr>
        <a:ln>
          <a:solidFill>
            <a:schemeClr val="accent3">
              <a:lumMod val="50000"/>
            </a:schemeClr>
          </a:solidFill>
        </a:ln>
      </dgm:spPr>
      <dgm:t>
        <a:bodyPr/>
        <a:lstStyle/>
        <a:p>
          <a:r>
            <a:rPr lang="en-US" dirty="0" smtClean="0"/>
            <a:t>Social Networks</a:t>
          </a:r>
          <a:endParaRPr lang="en-US" dirty="0"/>
        </a:p>
      </dgm:t>
    </dgm:pt>
    <dgm:pt modelId="{47EC012A-F41E-46A5-A6EF-BEF4FE5BE8E0}" type="parTrans" cxnId="{5B4AD5E6-8DD1-4EE9-A42A-544F22634933}">
      <dgm:prSet/>
      <dgm:spPr>
        <a:ln>
          <a:solidFill>
            <a:schemeClr val="accent3">
              <a:lumMod val="50000"/>
            </a:schemeClr>
          </a:solidFill>
        </a:ln>
      </dgm:spPr>
      <dgm:t>
        <a:bodyPr/>
        <a:lstStyle/>
        <a:p>
          <a:endParaRPr lang="en-US"/>
        </a:p>
      </dgm:t>
    </dgm:pt>
    <dgm:pt modelId="{92B114F0-A1D6-4563-B9C7-60B387E38466}" type="sibTrans" cxnId="{5B4AD5E6-8DD1-4EE9-A42A-544F22634933}">
      <dgm:prSet/>
      <dgm:spPr/>
      <dgm:t>
        <a:bodyPr/>
        <a:lstStyle/>
        <a:p>
          <a:endParaRPr lang="en-US"/>
        </a:p>
      </dgm:t>
    </dgm:pt>
    <dgm:pt modelId="{22016B11-A8D4-46ED-B7EE-75D124B9986F}">
      <dgm:prSet/>
      <dgm:spPr>
        <a:ln>
          <a:solidFill>
            <a:srgbClr val="008000"/>
          </a:solidFill>
        </a:ln>
      </dgm:spPr>
      <dgm:t>
        <a:bodyPr/>
        <a:lstStyle/>
        <a:p>
          <a:r>
            <a:rPr lang="en-US" dirty="0" smtClean="0"/>
            <a:t>Visualize</a:t>
          </a:r>
          <a:endParaRPr lang="en-US" dirty="0"/>
        </a:p>
      </dgm:t>
    </dgm:pt>
    <dgm:pt modelId="{AA47CE33-8DF5-4F1C-84CD-FF169EAF6D45}" type="parTrans" cxnId="{C8EAC5BB-A78C-498D-B4F9-9F3C6C3CAECA}">
      <dgm:prSet/>
      <dgm:spPr>
        <a:ln>
          <a:solidFill>
            <a:srgbClr val="008000"/>
          </a:solidFill>
        </a:ln>
      </dgm:spPr>
      <dgm:t>
        <a:bodyPr/>
        <a:lstStyle/>
        <a:p>
          <a:endParaRPr lang="en-US"/>
        </a:p>
      </dgm:t>
    </dgm:pt>
    <dgm:pt modelId="{85B02A41-7886-4210-BCF6-E518379F6A1B}" type="sibTrans" cxnId="{C8EAC5BB-A78C-498D-B4F9-9F3C6C3CAECA}">
      <dgm:prSet/>
      <dgm:spPr/>
      <dgm:t>
        <a:bodyPr/>
        <a:lstStyle/>
        <a:p>
          <a:endParaRPr lang="en-US"/>
        </a:p>
      </dgm:t>
    </dgm:pt>
    <dgm:pt modelId="{77BD0B4C-F618-4DF3-B03F-2B6FF6AF8112}">
      <dgm:prSet/>
      <dgm:spPr/>
      <dgm:t>
        <a:bodyPr/>
        <a:lstStyle/>
        <a:p>
          <a:r>
            <a:rPr lang="en-US" dirty="0" smtClean="0"/>
            <a:t>Random Forests</a:t>
          </a:r>
          <a:endParaRPr lang="en-US" dirty="0"/>
        </a:p>
      </dgm:t>
    </dgm:pt>
    <dgm:pt modelId="{C715A78D-7448-41DB-8245-02CB6AC3F416}" type="parTrans" cxnId="{292CBB84-8763-46DE-AE98-A0BA3E396B00}">
      <dgm:prSet/>
      <dgm:spPr/>
      <dgm:t>
        <a:bodyPr/>
        <a:lstStyle/>
        <a:p>
          <a:endParaRPr lang="en-US"/>
        </a:p>
      </dgm:t>
    </dgm:pt>
    <dgm:pt modelId="{2CA2D0DA-F8B5-4D76-8A3E-B9B2E7022135}" type="sibTrans" cxnId="{292CBB84-8763-46DE-AE98-A0BA3E396B00}">
      <dgm:prSet/>
      <dgm:spPr/>
      <dgm:t>
        <a:bodyPr/>
        <a:lstStyle/>
        <a:p>
          <a:endParaRPr lang="en-US"/>
        </a:p>
      </dgm:t>
    </dgm:pt>
    <dgm:pt modelId="{B755CEFE-FBCE-4EB3-8092-95664525C6F8}">
      <dgm:prSet/>
      <dgm:spPr/>
      <dgm:t>
        <a:bodyPr/>
        <a:lstStyle/>
        <a:p>
          <a:r>
            <a:rPr lang="en-US" dirty="0" smtClean="0"/>
            <a:t>SVM</a:t>
          </a:r>
          <a:endParaRPr lang="en-US" dirty="0"/>
        </a:p>
      </dgm:t>
    </dgm:pt>
    <dgm:pt modelId="{65221AF2-1034-49A4-8C34-64D52112AF17}" type="parTrans" cxnId="{1BDB7A9B-ADFD-42CD-8EDC-E4974F3FFF85}">
      <dgm:prSet/>
      <dgm:spPr/>
      <dgm:t>
        <a:bodyPr/>
        <a:lstStyle/>
        <a:p>
          <a:endParaRPr lang="en-US"/>
        </a:p>
      </dgm:t>
    </dgm:pt>
    <dgm:pt modelId="{A1AD528A-9328-4D58-ACC5-3EAADE0EEC98}" type="sibTrans" cxnId="{1BDB7A9B-ADFD-42CD-8EDC-E4974F3FFF85}">
      <dgm:prSet/>
      <dgm:spPr/>
      <dgm:t>
        <a:bodyPr/>
        <a:lstStyle/>
        <a:p>
          <a:endParaRPr lang="en-US"/>
        </a:p>
      </dgm:t>
    </dgm:pt>
    <dgm:pt modelId="{83BA2146-E3FF-4865-8E1B-673715293DBE}">
      <dgm:prSet/>
      <dgm:spPr/>
      <dgm:t>
        <a:bodyPr/>
        <a:lstStyle/>
        <a:p>
          <a:r>
            <a:rPr lang="en-US" dirty="0" err="1" smtClean="0"/>
            <a:t>KMeans</a:t>
          </a:r>
          <a:endParaRPr lang="en-US" dirty="0"/>
        </a:p>
      </dgm:t>
    </dgm:pt>
    <dgm:pt modelId="{A184CA5A-55F0-4DDE-A469-A585F91B3CAB}" type="parTrans" cxnId="{882B0ACD-C182-4D7F-9D11-3D5F76C811C5}">
      <dgm:prSet/>
      <dgm:spPr/>
      <dgm:t>
        <a:bodyPr/>
        <a:lstStyle/>
        <a:p>
          <a:endParaRPr lang="en-US"/>
        </a:p>
      </dgm:t>
    </dgm:pt>
    <dgm:pt modelId="{437C5D7B-61B1-4836-9D51-E07DF4D75B18}" type="sibTrans" cxnId="{882B0ACD-C182-4D7F-9D11-3D5F76C811C5}">
      <dgm:prSet/>
      <dgm:spPr/>
      <dgm:t>
        <a:bodyPr/>
        <a:lstStyle/>
        <a:p>
          <a:endParaRPr lang="en-US"/>
        </a:p>
      </dgm:t>
    </dgm:pt>
    <dgm:pt modelId="{0942348B-B4EF-414F-AD7F-BA236AC62AB6}">
      <dgm:prSet/>
      <dgm:spPr/>
      <dgm:t>
        <a:bodyPr/>
        <a:lstStyle/>
        <a:p>
          <a:r>
            <a:rPr lang="en-US" dirty="0" smtClean="0"/>
            <a:t>Hierarchical clustering</a:t>
          </a:r>
          <a:endParaRPr lang="en-US" dirty="0"/>
        </a:p>
      </dgm:t>
    </dgm:pt>
    <dgm:pt modelId="{DC69DA9D-4F57-45F0-9348-2C41216F547B}" type="parTrans" cxnId="{B5911C6A-FB1C-42A3-BA03-BDCC6BC3FDF5}">
      <dgm:prSet/>
      <dgm:spPr/>
      <dgm:t>
        <a:bodyPr/>
        <a:lstStyle/>
        <a:p>
          <a:endParaRPr lang="en-US"/>
        </a:p>
      </dgm:t>
    </dgm:pt>
    <dgm:pt modelId="{502C1BC5-98E5-48CC-95FE-B61730DBF182}" type="sibTrans" cxnId="{B5911C6A-FB1C-42A3-BA03-BDCC6BC3FDF5}">
      <dgm:prSet/>
      <dgm:spPr/>
      <dgm:t>
        <a:bodyPr/>
        <a:lstStyle/>
        <a:p>
          <a:endParaRPr lang="en-US"/>
        </a:p>
      </dgm:t>
    </dgm:pt>
    <dgm:pt modelId="{54B19597-4123-4C82-9097-1E8397D16A61}">
      <dgm:prSet/>
      <dgm:spPr/>
      <dgm:t>
        <a:bodyPr/>
        <a:lstStyle/>
        <a:p>
          <a:r>
            <a:rPr lang="en-US" dirty="0" smtClean="0"/>
            <a:t>Ensemble Techniques</a:t>
          </a:r>
          <a:endParaRPr lang="en-US" dirty="0"/>
        </a:p>
      </dgm:t>
    </dgm:pt>
    <dgm:pt modelId="{73B6AC85-7601-4D18-ADFA-4380B665E919}" type="parTrans" cxnId="{30044481-5E9F-4E45-BE52-73C75AFE5CFC}">
      <dgm:prSet/>
      <dgm:spPr/>
      <dgm:t>
        <a:bodyPr/>
        <a:lstStyle/>
        <a:p>
          <a:endParaRPr lang="en-US"/>
        </a:p>
      </dgm:t>
    </dgm:pt>
    <dgm:pt modelId="{BC0E4829-B985-4C01-84E0-8466A1A93B18}" type="sibTrans" cxnId="{30044481-5E9F-4E45-BE52-73C75AFE5CFC}">
      <dgm:prSet/>
      <dgm:spPr/>
      <dgm:t>
        <a:bodyPr/>
        <a:lstStyle/>
        <a:p>
          <a:endParaRPr lang="en-US"/>
        </a:p>
      </dgm:t>
    </dgm:pt>
    <dgm:pt modelId="{7B01A4E4-18F3-4829-AB4E-CE459F0538A3}">
      <dgm:prSet/>
      <dgm:spPr>
        <a:ln>
          <a:solidFill>
            <a:srgbClr val="008000"/>
          </a:solidFill>
        </a:ln>
      </dgm:spPr>
      <dgm:t>
        <a:bodyPr/>
        <a:lstStyle/>
        <a:p>
          <a:r>
            <a:rPr lang="en-US" dirty="0" smtClean="0"/>
            <a:t>Acquire Data</a:t>
          </a:r>
          <a:endParaRPr lang="en-US" dirty="0"/>
        </a:p>
      </dgm:t>
    </dgm:pt>
    <dgm:pt modelId="{9002AB7D-B48F-40FF-B27E-4F147B37A1BC}" type="parTrans" cxnId="{76AA0E99-C0E4-4AEC-9F39-D6038A5E1CEA}">
      <dgm:prSet/>
      <dgm:spPr>
        <a:ln>
          <a:solidFill>
            <a:srgbClr val="008000"/>
          </a:solidFill>
        </a:ln>
      </dgm:spPr>
      <dgm:t>
        <a:bodyPr/>
        <a:lstStyle/>
        <a:p>
          <a:endParaRPr lang="en-US"/>
        </a:p>
      </dgm:t>
    </dgm:pt>
    <dgm:pt modelId="{815C8A61-8777-4CD5-A30D-B56921C6E96E}" type="sibTrans" cxnId="{76AA0E99-C0E4-4AEC-9F39-D6038A5E1CEA}">
      <dgm:prSet/>
      <dgm:spPr/>
      <dgm:t>
        <a:bodyPr/>
        <a:lstStyle/>
        <a:p>
          <a:endParaRPr lang="en-US"/>
        </a:p>
      </dgm:t>
    </dgm:pt>
    <dgm:pt modelId="{1CB2F749-5A4B-4601-8E06-146F6DE916BA}">
      <dgm:prSet/>
      <dgm:spPr>
        <a:ln>
          <a:solidFill>
            <a:srgbClr val="008000"/>
          </a:solidFill>
        </a:ln>
      </dgm:spPr>
      <dgm:t>
        <a:bodyPr/>
        <a:lstStyle/>
        <a:p>
          <a:r>
            <a:rPr lang="en-US" dirty="0" smtClean="0"/>
            <a:t>Prepare</a:t>
          </a:r>
          <a:endParaRPr lang="en-US" dirty="0"/>
        </a:p>
      </dgm:t>
    </dgm:pt>
    <dgm:pt modelId="{D662AC0A-862B-4911-AD60-0A2E143006DE}" type="parTrans" cxnId="{35D65FCE-DB8A-45D9-BFF2-84875550CFDA}">
      <dgm:prSet/>
      <dgm:spPr>
        <a:ln>
          <a:solidFill>
            <a:srgbClr val="008000"/>
          </a:solidFill>
        </a:ln>
      </dgm:spPr>
      <dgm:t>
        <a:bodyPr/>
        <a:lstStyle/>
        <a:p>
          <a:endParaRPr lang="en-US"/>
        </a:p>
      </dgm:t>
    </dgm:pt>
    <dgm:pt modelId="{2D04020D-7EBD-44FD-8A2E-0E7124737AB7}" type="sibTrans" cxnId="{35D65FCE-DB8A-45D9-BFF2-84875550CFDA}">
      <dgm:prSet/>
      <dgm:spPr/>
      <dgm:t>
        <a:bodyPr/>
        <a:lstStyle/>
        <a:p>
          <a:endParaRPr lang="en-US"/>
        </a:p>
      </dgm:t>
    </dgm:pt>
    <dgm:pt modelId="{50E56AC7-CF0A-4583-A749-CE95FCB894C9}">
      <dgm:prSet/>
      <dgm:spPr>
        <a:ln>
          <a:solidFill>
            <a:srgbClr val="008000"/>
          </a:solidFill>
        </a:ln>
      </dgm:spPr>
      <dgm:t>
        <a:bodyPr/>
        <a:lstStyle/>
        <a:p>
          <a:r>
            <a:rPr lang="en-US" dirty="0" smtClean="0"/>
            <a:t>Optimize</a:t>
          </a:r>
          <a:endParaRPr lang="en-US" dirty="0"/>
        </a:p>
      </dgm:t>
    </dgm:pt>
    <dgm:pt modelId="{DF2BC6F1-E0F4-4D0F-8D4B-E8F702EA20A9}" type="parTrans" cxnId="{9583717D-EE7D-4C22-A632-FC61B891A25E}">
      <dgm:prSet/>
      <dgm:spPr>
        <a:ln>
          <a:solidFill>
            <a:srgbClr val="008000"/>
          </a:solidFill>
        </a:ln>
      </dgm:spPr>
      <dgm:t>
        <a:bodyPr/>
        <a:lstStyle/>
        <a:p>
          <a:endParaRPr lang="en-US"/>
        </a:p>
      </dgm:t>
    </dgm:pt>
    <dgm:pt modelId="{BC4925B3-E8B4-4E29-A1D3-A381C811BDA8}" type="sibTrans" cxnId="{9583717D-EE7D-4C22-A632-FC61B891A25E}">
      <dgm:prSet/>
      <dgm:spPr/>
      <dgm:t>
        <a:bodyPr/>
        <a:lstStyle/>
        <a:p>
          <a:endParaRPr lang="en-US"/>
        </a:p>
      </dgm:t>
    </dgm:pt>
    <dgm:pt modelId="{64B12107-EAE0-47E1-AD40-2B588FB6A384}">
      <dgm:prSet/>
      <dgm:spPr>
        <a:ln>
          <a:solidFill>
            <a:srgbClr val="008000"/>
          </a:solidFill>
        </a:ln>
      </dgm:spPr>
      <dgm:t>
        <a:bodyPr/>
        <a:lstStyle/>
        <a:p>
          <a:r>
            <a:rPr lang="en-US" dirty="0" smtClean="0"/>
            <a:t>Interpret</a:t>
          </a:r>
          <a:endParaRPr lang="en-US" dirty="0"/>
        </a:p>
      </dgm:t>
    </dgm:pt>
    <dgm:pt modelId="{3754933C-5A6E-4932-A595-077F73F200A5}" type="parTrans" cxnId="{4B01EDCE-F22D-4072-B1F3-CA60A023C236}">
      <dgm:prSet/>
      <dgm:spPr>
        <a:ln>
          <a:solidFill>
            <a:srgbClr val="008000"/>
          </a:solidFill>
        </a:ln>
      </dgm:spPr>
      <dgm:t>
        <a:bodyPr/>
        <a:lstStyle/>
        <a:p>
          <a:endParaRPr lang="en-US"/>
        </a:p>
      </dgm:t>
    </dgm:pt>
    <dgm:pt modelId="{2E23CDCF-AB8B-4958-8F3D-5B00E709635D}" type="sibTrans" cxnId="{4B01EDCE-F22D-4072-B1F3-CA60A023C236}">
      <dgm:prSet/>
      <dgm:spPr/>
      <dgm:t>
        <a:bodyPr/>
        <a:lstStyle/>
        <a:p>
          <a:endParaRPr lang="en-US"/>
        </a:p>
      </dgm:t>
    </dgm:pt>
    <dgm:pt modelId="{CA849BA3-0290-4B1D-A0C7-076C81190260}" type="pres">
      <dgm:prSet presAssocID="{CBE7D58A-D3BE-4BE4-A5D4-292BC9F59992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4817F196-1321-410C-B9C8-74B777AB4FF5}" type="pres">
      <dgm:prSet presAssocID="{D3FACFE7-1B95-4E9B-909A-B92DF4002740}" presName="root" presStyleCnt="0"/>
      <dgm:spPr/>
    </dgm:pt>
    <dgm:pt modelId="{4098E448-C17A-4D67-ACBA-3D07EF0EB595}" type="pres">
      <dgm:prSet presAssocID="{D3FACFE7-1B95-4E9B-909A-B92DF4002740}" presName="rootComposite" presStyleCnt="0"/>
      <dgm:spPr/>
    </dgm:pt>
    <dgm:pt modelId="{716A137A-8884-4210-A8E5-19D661CC150D}" type="pres">
      <dgm:prSet presAssocID="{D3FACFE7-1B95-4E9B-909A-B92DF4002740}" presName="rootText" presStyleLbl="node1" presStyleIdx="0" presStyleCnt="3"/>
      <dgm:spPr/>
      <dgm:t>
        <a:bodyPr/>
        <a:lstStyle/>
        <a:p>
          <a:endParaRPr lang="en-US"/>
        </a:p>
      </dgm:t>
    </dgm:pt>
    <dgm:pt modelId="{361E9E66-12E6-46D5-941B-1B176AA59564}" type="pres">
      <dgm:prSet presAssocID="{D3FACFE7-1B95-4E9B-909A-B92DF4002740}" presName="rootConnector" presStyleLbl="node1" presStyleIdx="0" presStyleCnt="3"/>
      <dgm:spPr/>
      <dgm:t>
        <a:bodyPr/>
        <a:lstStyle/>
        <a:p>
          <a:endParaRPr lang="en-US"/>
        </a:p>
      </dgm:t>
    </dgm:pt>
    <dgm:pt modelId="{3D3A3D05-976A-4141-8C4C-6394F7115036}" type="pres">
      <dgm:prSet presAssocID="{D3FACFE7-1B95-4E9B-909A-B92DF4002740}" presName="childShape" presStyleCnt="0"/>
      <dgm:spPr/>
    </dgm:pt>
    <dgm:pt modelId="{777A6F5F-F1C7-4893-8354-F2217064ECC1}" type="pres">
      <dgm:prSet presAssocID="{0E154189-BE59-4CB0-B47C-D728CC0BF7D2}" presName="Name13" presStyleLbl="parChTrans1D2" presStyleIdx="0" presStyleCnt="20"/>
      <dgm:spPr/>
      <dgm:t>
        <a:bodyPr/>
        <a:lstStyle/>
        <a:p>
          <a:endParaRPr lang="en-US"/>
        </a:p>
      </dgm:t>
    </dgm:pt>
    <dgm:pt modelId="{3C37F822-7F9D-4758-90B3-5EC8531C85A8}" type="pres">
      <dgm:prSet presAssocID="{9ADC2949-CEC6-406B-99B7-9936379B87AC}" presName="childText" presStyleLbl="bgAcc1" presStyleIdx="0" presStyleCnt="2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A0DE923-F312-4C59-A99E-7A362EB67F9D}" type="pres">
      <dgm:prSet presAssocID="{28F6CDE3-DCD0-4BAD-A6EB-FEEDBF02740B}" presName="Name13" presStyleLbl="parChTrans1D2" presStyleIdx="1" presStyleCnt="20"/>
      <dgm:spPr/>
      <dgm:t>
        <a:bodyPr/>
        <a:lstStyle/>
        <a:p>
          <a:endParaRPr lang="en-US"/>
        </a:p>
      </dgm:t>
    </dgm:pt>
    <dgm:pt modelId="{75C7782B-A0C5-4AE2-B028-4471427D949D}" type="pres">
      <dgm:prSet presAssocID="{00B11E5E-4F3C-435B-BA9A-00EE25D553F9}" presName="childText" presStyleLbl="bgAcc1" presStyleIdx="1" presStyleCnt="2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2B9168C-D099-49A7-8CE4-A8B2008782C2}" type="pres">
      <dgm:prSet presAssocID="{BF478821-AB98-4CD6-B7A9-492AFEBE3CC8}" presName="Name13" presStyleLbl="parChTrans1D2" presStyleIdx="2" presStyleCnt="20"/>
      <dgm:spPr/>
      <dgm:t>
        <a:bodyPr/>
        <a:lstStyle/>
        <a:p>
          <a:endParaRPr lang="en-US"/>
        </a:p>
      </dgm:t>
    </dgm:pt>
    <dgm:pt modelId="{51B0E91A-8FEA-4D7C-AAF5-323C92D276DF}" type="pres">
      <dgm:prSet presAssocID="{AA639053-9D11-484B-919C-4AF0960F5B7D}" presName="childText" presStyleLbl="bgAcc1" presStyleIdx="2" presStyleCnt="2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96059F0-31A5-462F-B789-3E60E1CF6047}" type="pres">
      <dgm:prSet presAssocID="{B013AFA7-3EA9-4BC6-A4EE-061A057AE83E}" presName="Name13" presStyleLbl="parChTrans1D2" presStyleIdx="3" presStyleCnt="20"/>
      <dgm:spPr/>
      <dgm:t>
        <a:bodyPr/>
        <a:lstStyle/>
        <a:p>
          <a:endParaRPr lang="en-US"/>
        </a:p>
      </dgm:t>
    </dgm:pt>
    <dgm:pt modelId="{31697EBC-D13F-4A5A-A23F-982B7314FC3A}" type="pres">
      <dgm:prSet presAssocID="{A1443DD4-95EA-4B40-945F-22DF8E8AB444}" presName="childText" presStyleLbl="bgAcc1" presStyleIdx="3" presStyleCnt="2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35D4611-B5BE-4DF2-BAFD-C0555E5422F7}" type="pres">
      <dgm:prSet presAssocID="{C45AB93F-E226-4DF9-AFFA-1849F54BB0DC}" presName="Name13" presStyleLbl="parChTrans1D2" presStyleIdx="4" presStyleCnt="20"/>
      <dgm:spPr/>
      <dgm:t>
        <a:bodyPr/>
        <a:lstStyle/>
        <a:p>
          <a:endParaRPr lang="en-US"/>
        </a:p>
      </dgm:t>
    </dgm:pt>
    <dgm:pt modelId="{1DFD5881-F125-4AA2-971F-DB344147620F}" type="pres">
      <dgm:prSet presAssocID="{5C057080-3273-4FCD-8B88-5264008E10EF}" presName="childText" presStyleLbl="bgAcc1" presStyleIdx="4" presStyleCnt="2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383F6AE-A2C3-4421-9D23-4B982154F1CC}" type="pres">
      <dgm:prSet presAssocID="{77B5CA90-E886-468B-834F-03F0E91630A4}" presName="Name13" presStyleLbl="parChTrans1D2" presStyleIdx="5" presStyleCnt="20"/>
      <dgm:spPr/>
      <dgm:t>
        <a:bodyPr/>
        <a:lstStyle/>
        <a:p>
          <a:endParaRPr lang="en-US"/>
        </a:p>
      </dgm:t>
    </dgm:pt>
    <dgm:pt modelId="{A4932158-8409-41E4-8D29-626905C9E524}" type="pres">
      <dgm:prSet presAssocID="{56937CFE-847B-4E50-BCEC-B5492E1E0467}" presName="childText" presStyleLbl="bgAcc1" presStyleIdx="5" presStyleCnt="2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390D78A-BD75-4634-8176-ABC4B5EEC48F}" type="pres">
      <dgm:prSet presAssocID="{47EC012A-F41E-46A5-A6EF-BEF4FE5BE8E0}" presName="Name13" presStyleLbl="parChTrans1D2" presStyleIdx="6" presStyleCnt="20"/>
      <dgm:spPr/>
      <dgm:t>
        <a:bodyPr/>
        <a:lstStyle/>
        <a:p>
          <a:endParaRPr lang="en-US"/>
        </a:p>
      </dgm:t>
    </dgm:pt>
    <dgm:pt modelId="{E86775B4-461B-4FA0-9E28-B3F4C7601360}" type="pres">
      <dgm:prSet presAssocID="{56C762C6-B270-4747-9E68-EF5DF91E2127}" presName="childText" presStyleLbl="bgAcc1" presStyleIdx="6" presStyleCnt="2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1689860-76EA-4523-A437-56AF69F3908E}" type="pres">
      <dgm:prSet presAssocID="{B2B7D77F-D1CA-4633-A8AE-75BBC8BC6688}" presName="root" presStyleCnt="0"/>
      <dgm:spPr/>
    </dgm:pt>
    <dgm:pt modelId="{52578F80-9A0B-4F51-A7DE-7254D2B6C5B3}" type="pres">
      <dgm:prSet presAssocID="{B2B7D77F-D1CA-4633-A8AE-75BBC8BC6688}" presName="rootComposite" presStyleCnt="0"/>
      <dgm:spPr/>
    </dgm:pt>
    <dgm:pt modelId="{8050E6DC-DE09-4969-A672-76CD2A400924}" type="pres">
      <dgm:prSet presAssocID="{B2B7D77F-D1CA-4633-A8AE-75BBC8BC6688}" presName="rootText" presStyleLbl="node1" presStyleIdx="1" presStyleCnt="3"/>
      <dgm:spPr/>
      <dgm:t>
        <a:bodyPr/>
        <a:lstStyle/>
        <a:p>
          <a:endParaRPr lang="en-US"/>
        </a:p>
      </dgm:t>
    </dgm:pt>
    <dgm:pt modelId="{C7558D49-9210-4CA8-AB55-4FFA090CF877}" type="pres">
      <dgm:prSet presAssocID="{B2B7D77F-D1CA-4633-A8AE-75BBC8BC6688}" presName="rootConnector" presStyleLbl="node1" presStyleIdx="1" presStyleCnt="3"/>
      <dgm:spPr/>
      <dgm:t>
        <a:bodyPr/>
        <a:lstStyle/>
        <a:p>
          <a:endParaRPr lang="en-US"/>
        </a:p>
      </dgm:t>
    </dgm:pt>
    <dgm:pt modelId="{3F25A56A-37F2-44A4-A31C-BD7FBF9DCEEF}" type="pres">
      <dgm:prSet presAssocID="{B2B7D77F-D1CA-4633-A8AE-75BBC8BC6688}" presName="childShape" presStyleCnt="0"/>
      <dgm:spPr/>
    </dgm:pt>
    <dgm:pt modelId="{203A84D0-B14A-413D-8819-C5B156AA3617}" type="pres">
      <dgm:prSet presAssocID="{9002AB7D-B48F-40FF-B27E-4F147B37A1BC}" presName="Name13" presStyleLbl="parChTrans1D2" presStyleIdx="7" presStyleCnt="20"/>
      <dgm:spPr/>
      <dgm:t>
        <a:bodyPr/>
        <a:lstStyle/>
        <a:p>
          <a:endParaRPr lang="en-US"/>
        </a:p>
      </dgm:t>
    </dgm:pt>
    <dgm:pt modelId="{8995B9E0-ED98-40D1-8348-F7AC13674CAE}" type="pres">
      <dgm:prSet presAssocID="{7B01A4E4-18F3-4829-AB4E-CE459F0538A3}" presName="childText" presStyleLbl="bgAcc1" presStyleIdx="7" presStyleCnt="2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F7C02D6-3991-4932-9AF5-B6A03B9D8F6B}" type="pres">
      <dgm:prSet presAssocID="{D662AC0A-862B-4911-AD60-0A2E143006DE}" presName="Name13" presStyleLbl="parChTrans1D2" presStyleIdx="8" presStyleCnt="20"/>
      <dgm:spPr/>
      <dgm:t>
        <a:bodyPr/>
        <a:lstStyle/>
        <a:p>
          <a:endParaRPr lang="en-US"/>
        </a:p>
      </dgm:t>
    </dgm:pt>
    <dgm:pt modelId="{6005EAB6-89C3-4795-9E71-0D8F262610F1}" type="pres">
      <dgm:prSet presAssocID="{1CB2F749-5A4B-4601-8E06-146F6DE916BA}" presName="childText" presStyleLbl="bgAcc1" presStyleIdx="8" presStyleCnt="2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2719BA2-EDBB-47B0-912A-D1417D74B346}" type="pres">
      <dgm:prSet presAssocID="{B5ED919F-6C63-4E30-9A1C-64798D9921E4}" presName="Name13" presStyleLbl="parChTrans1D2" presStyleIdx="9" presStyleCnt="20"/>
      <dgm:spPr/>
      <dgm:t>
        <a:bodyPr/>
        <a:lstStyle/>
        <a:p>
          <a:endParaRPr lang="en-US"/>
        </a:p>
      </dgm:t>
    </dgm:pt>
    <dgm:pt modelId="{CEECA429-6CC9-4A40-8B87-C3D2F1649A0C}" type="pres">
      <dgm:prSet presAssocID="{E93011E5-C9D7-4121-8ECD-1909CF235860}" presName="childText" presStyleLbl="bgAcc1" presStyleIdx="9" presStyleCnt="2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43BA537-EACE-4CA9-9186-3E47F3700BDF}" type="pres">
      <dgm:prSet presAssocID="{BBD4041E-BCAE-43D6-AA6D-C2C295ABF3E4}" presName="Name13" presStyleLbl="parChTrans1D2" presStyleIdx="10" presStyleCnt="20"/>
      <dgm:spPr/>
      <dgm:t>
        <a:bodyPr/>
        <a:lstStyle/>
        <a:p>
          <a:endParaRPr lang="en-US"/>
        </a:p>
      </dgm:t>
    </dgm:pt>
    <dgm:pt modelId="{3E87ECE6-5E37-44F9-A6FC-0CD90F6E9667}" type="pres">
      <dgm:prSet presAssocID="{06DA29E8-D8D1-437E-AB6A-D9EF3411AC2E}" presName="childText" presStyleLbl="bgAcc1" presStyleIdx="10" presStyleCnt="2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5D26A88-B113-43B0-95FE-B30DB10D056B}" type="pres">
      <dgm:prSet presAssocID="{AA47CE33-8DF5-4F1C-84CD-FF169EAF6D45}" presName="Name13" presStyleLbl="parChTrans1D2" presStyleIdx="11" presStyleCnt="20"/>
      <dgm:spPr/>
      <dgm:t>
        <a:bodyPr/>
        <a:lstStyle/>
        <a:p>
          <a:endParaRPr lang="en-US"/>
        </a:p>
      </dgm:t>
    </dgm:pt>
    <dgm:pt modelId="{09B087AA-C59B-4677-AEE6-686F8F0ED446}" type="pres">
      <dgm:prSet presAssocID="{22016B11-A8D4-46ED-B7EE-75D124B9986F}" presName="childText" presStyleLbl="bgAcc1" presStyleIdx="11" presStyleCnt="2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8DD10DA-7BB1-4093-8085-874745FA8AF8}" type="pres">
      <dgm:prSet presAssocID="{DF2BC6F1-E0F4-4D0F-8D4B-E8F702EA20A9}" presName="Name13" presStyleLbl="parChTrans1D2" presStyleIdx="12" presStyleCnt="20"/>
      <dgm:spPr/>
      <dgm:t>
        <a:bodyPr/>
        <a:lstStyle/>
        <a:p>
          <a:endParaRPr lang="en-US"/>
        </a:p>
      </dgm:t>
    </dgm:pt>
    <dgm:pt modelId="{8C724BFD-7B60-4545-AF98-1BD2EB009BD2}" type="pres">
      <dgm:prSet presAssocID="{50E56AC7-CF0A-4583-A749-CE95FCB894C9}" presName="childText" presStyleLbl="bgAcc1" presStyleIdx="12" presStyleCnt="2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BCA59E7-0C94-4E52-B1C9-7CD4A9A207AE}" type="pres">
      <dgm:prSet presAssocID="{3754933C-5A6E-4932-A595-077F73F200A5}" presName="Name13" presStyleLbl="parChTrans1D2" presStyleIdx="13" presStyleCnt="20"/>
      <dgm:spPr/>
      <dgm:t>
        <a:bodyPr/>
        <a:lstStyle/>
        <a:p>
          <a:endParaRPr lang="en-US"/>
        </a:p>
      </dgm:t>
    </dgm:pt>
    <dgm:pt modelId="{EEF6C3B1-69FB-4CA2-BE81-E7ACDFE82F43}" type="pres">
      <dgm:prSet presAssocID="{64B12107-EAE0-47E1-AD40-2B588FB6A384}" presName="childText" presStyleLbl="bgAcc1" presStyleIdx="13" presStyleCnt="2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118AECB-774B-4ED2-92C3-DC5000387D88}" type="pres">
      <dgm:prSet presAssocID="{963CF1A4-A258-4448-B9D6-342364CDFF4B}" presName="root" presStyleCnt="0"/>
      <dgm:spPr/>
    </dgm:pt>
    <dgm:pt modelId="{3A8472E8-C132-4F2A-9875-5531019F84B0}" type="pres">
      <dgm:prSet presAssocID="{963CF1A4-A258-4448-B9D6-342364CDFF4B}" presName="rootComposite" presStyleCnt="0"/>
      <dgm:spPr/>
    </dgm:pt>
    <dgm:pt modelId="{550C7D56-CB20-4589-B873-4DC8D6706F8E}" type="pres">
      <dgm:prSet presAssocID="{963CF1A4-A258-4448-B9D6-342364CDFF4B}" presName="rootText" presStyleLbl="node1" presStyleIdx="2" presStyleCnt="3"/>
      <dgm:spPr/>
      <dgm:t>
        <a:bodyPr/>
        <a:lstStyle/>
        <a:p>
          <a:endParaRPr lang="en-US"/>
        </a:p>
      </dgm:t>
    </dgm:pt>
    <dgm:pt modelId="{A3EC7182-DBF3-4BF5-8BD5-AF3F044570C2}" type="pres">
      <dgm:prSet presAssocID="{963CF1A4-A258-4448-B9D6-342364CDFF4B}" presName="rootConnector" presStyleLbl="node1" presStyleIdx="2" presStyleCnt="3"/>
      <dgm:spPr/>
      <dgm:t>
        <a:bodyPr/>
        <a:lstStyle/>
        <a:p>
          <a:endParaRPr lang="en-US"/>
        </a:p>
      </dgm:t>
    </dgm:pt>
    <dgm:pt modelId="{023B16F0-8691-4C2C-ABEA-0233D3BCA3F9}" type="pres">
      <dgm:prSet presAssocID="{963CF1A4-A258-4448-B9D6-342364CDFF4B}" presName="childShape" presStyleCnt="0"/>
      <dgm:spPr/>
    </dgm:pt>
    <dgm:pt modelId="{2CA151B7-1CE3-41C0-A5A4-2D231E793ABA}" type="pres">
      <dgm:prSet presAssocID="{7756079A-0520-40F6-8489-CF3DA66A34D9}" presName="Name13" presStyleLbl="parChTrans1D2" presStyleIdx="14" presStyleCnt="20"/>
      <dgm:spPr/>
      <dgm:t>
        <a:bodyPr/>
        <a:lstStyle/>
        <a:p>
          <a:endParaRPr lang="en-US"/>
        </a:p>
      </dgm:t>
    </dgm:pt>
    <dgm:pt modelId="{8E6C0099-34EF-48EF-A905-CFB4E24233C8}" type="pres">
      <dgm:prSet presAssocID="{7C034425-C389-49F9-86D1-C5F9C82746F3}" presName="childText" presStyleLbl="bgAcc1" presStyleIdx="14" presStyleCnt="2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7ED3ACA-A86B-4F19-89A6-45ED0FDFB635}" type="pres">
      <dgm:prSet presAssocID="{C715A78D-7448-41DB-8245-02CB6AC3F416}" presName="Name13" presStyleLbl="parChTrans1D2" presStyleIdx="15" presStyleCnt="20"/>
      <dgm:spPr/>
      <dgm:t>
        <a:bodyPr/>
        <a:lstStyle/>
        <a:p>
          <a:endParaRPr lang="en-US"/>
        </a:p>
      </dgm:t>
    </dgm:pt>
    <dgm:pt modelId="{B99B76DA-A860-4491-88D5-00644994CAD7}" type="pres">
      <dgm:prSet presAssocID="{77BD0B4C-F618-4DF3-B03F-2B6FF6AF8112}" presName="childText" presStyleLbl="bgAcc1" presStyleIdx="15" presStyleCnt="2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EA13E81-7540-4ADC-B24D-13EF92724A51}" type="pres">
      <dgm:prSet presAssocID="{65221AF2-1034-49A4-8C34-64D52112AF17}" presName="Name13" presStyleLbl="parChTrans1D2" presStyleIdx="16" presStyleCnt="20"/>
      <dgm:spPr/>
      <dgm:t>
        <a:bodyPr/>
        <a:lstStyle/>
        <a:p>
          <a:endParaRPr lang="en-US"/>
        </a:p>
      </dgm:t>
    </dgm:pt>
    <dgm:pt modelId="{26BC35F0-ACDC-4689-A93D-2AC86B4AA80A}" type="pres">
      <dgm:prSet presAssocID="{B755CEFE-FBCE-4EB3-8092-95664525C6F8}" presName="childText" presStyleLbl="bgAcc1" presStyleIdx="16" presStyleCnt="2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DBFF0FF-12B8-4239-9453-33B057A4CAF6}" type="pres">
      <dgm:prSet presAssocID="{A184CA5A-55F0-4DDE-A469-A585F91B3CAB}" presName="Name13" presStyleLbl="parChTrans1D2" presStyleIdx="17" presStyleCnt="20"/>
      <dgm:spPr/>
      <dgm:t>
        <a:bodyPr/>
        <a:lstStyle/>
        <a:p>
          <a:endParaRPr lang="en-US"/>
        </a:p>
      </dgm:t>
    </dgm:pt>
    <dgm:pt modelId="{354F00D4-E237-4A7B-8660-9DFAE42DA40E}" type="pres">
      <dgm:prSet presAssocID="{83BA2146-E3FF-4865-8E1B-673715293DBE}" presName="childText" presStyleLbl="bgAcc1" presStyleIdx="17" presStyleCnt="2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DB4BC34-066A-474D-A407-44E482643F41}" type="pres">
      <dgm:prSet presAssocID="{DC69DA9D-4F57-45F0-9348-2C41216F547B}" presName="Name13" presStyleLbl="parChTrans1D2" presStyleIdx="18" presStyleCnt="20"/>
      <dgm:spPr/>
      <dgm:t>
        <a:bodyPr/>
        <a:lstStyle/>
        <a:p>
          <a:endParaRPr lang="en-US"/>
        </a:p>
      </dgm:t>
    </dgm:pt>
    <dgm:pt modelId="{196201D4-2428-4B4D-85CF-F9C4795F13F9}" type="pres">
      <dgm:prSet presAssocID="{0942348B-B4EF-414F-AD7F-BA236AC62AB6}" presName="childText" presStyleLbl="bgAcc1" presStyleIdx="18" presStyleCnt="2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0F8714C-C4D2-47EC-B560-847CB893546A}" type="pres">
      <dgm:prSet presAssocID="{73B6AC85-7601-4D18-ADFA-4380B665E919}" presName="Name13" presStyleLbl="parChTrans1D2" presStyleIdx="19" presStyleCnt="20"/>
      <dgm:spPr/>
      <dgm:t>
        <a:bodyPr/>
        <a:lstStyle/>
        <a:p>
          <a:endParaRPr lang="en-US"/>
        </a:p>
      </dgm:t>
    </dgm:pt>
    <dgm:pt modelId="{F760473D-E2BE-44D8-BFEA-A0A81ADAC655}" type="pres">
      <dgm:prSet presAssocID="{54B19597-4123-4C82-9097-1E8397D16A61}" presName="childText" presStyleLbl="bgAcc1" presStyleIdx="19" presStyleCnt="2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F90EA93-B3E4-4E1F-9233-1ADD62DB6435}" type="presOf" srcId="{83BA2146-E3FF-4865-8E1B-673715293DBE}" destId="{354F00D4-E237-4A7B-8660-9DFAE42DA40E}" srcOrd="0" destOrd="0" presId="urn:microsoft.com/office/officeart/2005/8/layout/hierarchy3"/>
    <dgm:cxn modelId="{C8EAC5BB-A78C-498D-B4F9-9F3C6C3CAECA}" srcId="{B2B7D77F-D1CA-4633-A8AE-75BBC8BC6688}" destId="{22016B11-A8D4-46ED-B7EE-75D124B9986F}" srcOrd="4" destOrd="0" parTransId="{AA47CE33-8DF5-4F1C-84CD-FF169EAF6D45}" sibTransId="{85B02A41-7886-4210-BCF6-E518379F6A1B}"/>
    <dgm:cxn modelId="{A724D54D-79DF-484C-9C1F-DFC9DC64A4E0}" type="presOf" srcId="{77BD0B4C-F618-4DF3-B03F-2B6FF6AF8112}" destId="{B99B76DA-A860-4491-88D5-00644994CAD7}" srcOrd="0" destOrd="0" presId="urn:microsoft.com/office/officeart/2005/8/layout/hierarchy3"/>
    <dgm:cxn modelId="{1BDB7A9B-ADFD-42CD-8EDC-E4974F3FFF85}" srcId="{963CF1A4-A258-4448-B9D6-342364CDFF4B}" destId="{B755CEFE-FBCE-4EB3-8092-95664525C6F8}" srcOrd="2" destOrd="0" parTransId="{65221AF2-1034-49A4-8C34-64D52112AF17}" sibTransId="{A1AD528A-9328-4D58-ACC5-3EAADE0EEC98}"/>
    <dgm:cxn modelId="{4CA870C6-FC09-486B-9BAC-61EDDC1BF06D}" type="presOf" srcId="{7B01A4E4-18F3-4829-AB4E-CE459F0538A3}" destId="{8995B9E0-ED98-40D1-8348-F7AC13674CAE}" srcOrd="0" destOrd="0" presId="urn:microsoft.com/office/officeart/2005/8/layout/hierarchy3"/>
    <dgm:cxn modelId="{9116A8FD-9D9F-4340-B125-E12498571E43}" srcId="{CBE7D58A-D3BE-4BE4-A5D4-292BC9F59992}" destId="{963CF1A4-A258-4448-B9D6-342364CDFF4B}" srcOrd="2" destOrd="0" parTransId="{137C2467-14BF-4C8C-BFFD-22D377F7C94B}" sibTransId="{A7E7A2C3-47CE-4313-8057-36744B83BACF}"/>
    <dgm:cxn modelId="{169B3FB4-F53D-4757-B46E-90B64E09845A}" type="presOf" srcId="{9ADC2949-CEC6-406B-99B7-9936379B87AC}" destId="{3C37F822-7F9D-4758-90B3-5EC8531C85A8}" srcOrd="0" destOrd="0" presId="urn:microsoft.com/office/officeart/2005/8/layout/hierarchy3"/>
    <dgm:cxn modelId="{D2230BF4-CC82-4F0B-A2A9-AEA00F235577}" type="presOf" srcId="{0E154189-BE59-4CB0-B47C-D728CC0BF7D2}" destId="{777A6F5F-F1C7-4893-8354-F2217064ECC1}" srcOrd="0" destOrd="0" presId="urn:microsoft.com/office/officeart/2005/8/layout/hierarchy3"/>
    <dgm:cxn modelId="{0DBA9E3B-EE96-4AF5-9DEF-5A12CB387388}" type="presOf" srcId="{00B11E5E-4F3C-435B-BA9A-00EE25D553F9}" destId="{75C7782B-A0C5-4AE2-B028-4471427D949D}" srcOrd="0" destOrd="0" presId="urn:microsoft.com/office/officeart/2005/8/layout/hierarchy3"/>
    <dgm:cxn modelId="{4367BA40-760C-414C-A0D5-7CAC3F546CAF}" type="presOf" srcId="{9002AB7D-B48F-40FF-B27E-4F147B37A1BC}" destId="{203A84D0-B14A-413D-8819-C5B156AA3617}" srcOrd="0" destOrd="0" presId="urn:microsoft.com/office/officeart/2005/8/layout/hierarchy3"/>
    <dgm:cxn modelId="{DA1446BB-BD81-4E61-9D7B-2F7DCA68CC15}" srcId="{B2B7D77F-D1CA-4633-A8AE-75BBC8BC6688}" destId="{06DA29E8-D8D1-437E-AB6A-D9EF3411AC2E}" srcOrd="3" destOrd="0" parTransId="{BBD4041E-BCAE-43D6-AA6D-C2C295ABF3E4}" sibTransId="{AC6B0667-5C14-42C3-9E10-59DCB4C53C5B}"/>
    <dgm:cxn modelId="{74412FF1-B601-407D-928E-719979B8B019}" type="presOf" srcId="{A1443DD4-95EA-4B40-945F-22DF8E8AB444}" destId="{31697EBC-D13F-4A5A-A23F-982B7314FC3A}" srcOrd="0" destOrd="0" presId="urn:microsoft.com/office/officeart/2005/8/layout/hierarchy3"/>
    <dgm:cxn modelId="{292CBB84-8763-46DE-AE98-A0BA3E396B00}" srcId="{963CF1A4-A258-4448-B9D6-342364CDFF4B}" destId="{77BD0B4C-F618-4DF3-B03F-2B6FF6AF8112}" srcOrd="1" destOrd="0" parTransId="{C715A78D-7448-41DB-8245-02CB6AC3F416}" sibTransId="{2CA2D0DA-F8B5-4D76-8A3E-B9B2E7022135}"/>
    <dgm:cxn modelId="{EBA019D0-83D7-4E07-91FD-C74C8B263010}" type="presOf" srcId="{B2B7D77F-D1CA-4633-A8AE-75BBC8BC6688}" destId="{8050E6DC-DE09-4969-A672-76CD2A400924}" srcOrd="0" destOrd="0" presId="urn:microsoft.com/office/officeart/2005/8/layout/hierarchy3"/>
    <dgm:cxn modelId="{5EA0D5F4-8157-4944-BED9-73AB76DC35D6}" type="presOf" srcId="{AA47CE33-8DF5-4F1C-84CD-FF169EAF6D45}" destId="{85D26A88-B113-43B0-95FE-B30DB10D056B}" srcOrd="0" destOrd="0" presId="urn:microsoft.com/office/officeart/2005/8/layout/hierarchy3"/>
    <dgm:cxn modelId="{FBD09AED-15B4-4321-8800-CC41B889AFD2}" srcId="{B2B7D77F-D1CA-4633-A8AE-75BBC8BC6688}" destId="{E93011E5-C9D7-4121-8ECD-1909CF235860}" srcOrd="2" destOrd="0" parTransId="{B5ED919F-6C63-4E30-9A1C-64798D9921E4}" sibTransId="{A92FA6D4-9FD8-4A23-9997-5128C1FD242A}"/>
    <dgm:cxn modelId="{D502C3F7-2C79-4CDE-968D-2B1181853048}" type="presOf" srcId="{77B5CA90-E886-468B-834F-03F0E91630A4}" destId="{9383F6AE-A2C3-4421-9D23-4B982154F1CC}" srcOrd="0" destOrd="0" presId="urn:microsoft.com/office/officeart/2005/8/layout/hierarchy3"/>
    <dgm:cxn modelId="{BF351E09-0B88-4BC4-9465-3228C9C6CD7B}" type="presOf" srcId="{28F6CDE3-DCD0-4BAD-A6EB-FEEDBF02740B}" destId="{0A0DE923-F312-4C59-A99E-7A362EB67F9D}" srcOrd="0" destOrd="0" presId="urn:microsoft.com/office/officeart/2005/8/layout/hierarchy3"/>
    <dgm:cxn modelId="{D657CBAB-4303-4A47-AD71-4B628EC9287C}" type="presOf" srcId="{B013AFA7-3EA9-4BC6-A4EE-061A057AE83E}" destId="{596059F0-31A5-462F-B789-3E60E1CF6047}" srcOrd="0" destOrd="0" presId="urn:microsoft.com/office/officeart/2005/8/layout/hierarchy3"/>
    <dgm:cxn modelId="{38C249B8-9545-4A2B-95A5-DAADFC795058}" type="presOf" srcId="{BF478821-AB98-4CD6-B7A9-492AFEBE3CC8}" destId="{12B9168C-D099-49A7-8CE4-A8B2008782C2}" srcOrd="0" destOrd="0" presId="urn:microsoft.com/office/officeart/2005/8/layout/hierarchy3"/>
    <dgm:cxn modelId="{7412D6BE-F552-4715-A467-22FBA5481FDC}" type="presOf" srcId="{B5ED919F-6C63-4E30-9A1C-64798D9921E4}" destId="{F2719BA2-EDBB-47B0-912A-D1417D74B346}" srcOrd="0" destOrd="0" presId="urn:microsoft.com/office/officeart/2005/8/layout/hierarchy3"/>
    <dgm:cxn modelId="{B5911C6A-FB1C-42A3-BA03-BDCC6BC3FDF5}" srcId="{963CF1A4-A258-4448-B9D6-342364CDFF4B}" destId="{0942348B-B4EF-414F-AD7F-BA236AC62AB6}" srcOrd="4" destOrd="0" parTransId="{DC69DA9D-4F57-45F0-9348-2C41216F547B}" sibTransId="{502C1BC5-98E5-48CC-95FE-B61730DBF182}"/>
    <dgm:cxn modelId="{B640907E-3141-4895-B709-BF454F50AD26}" type="presOf" srcId="{BBD4041E-BCAE-43D6-AA6D-C2C295ABF3E4}" destId="{143BA537-EACE-4CA9-9186-3E47F3700BDF}" srcOrd="0" destOrd="0" presId="urn:microsoft.com/office/officeart/2005/8/layout/hierarchy3"/>
    <dgm:cxn modelId="{99FBF3D2-472B-487A-878B-236D0996E069}" type="presOf" srcId="{56937CFE-847B-4E50-BCEC-B5492E1E0467}" destId="{A4932158-8409-41E4-8D29-626905C9E524}" srcOrd="0" destOrd="0" presId="urn:microsoft.com/office/officeart/2005/8/layout/hierarchy3"/>
    <dgm:cxn modelId="{FD82A23D-9D40-4D8A-B2E2-652DE7521F95}" srcId="{D3FACFE7-1B95-4E9B-909A-B92DF4002740}" destId="{56937CFE-847B-4E50-BCEC-B5492E1E0467}" srcOrd="5" destOrd="0" parTransId="{77B5CA90-E886-468B-834F-03F0E91630A4}" sibTransId="{02F269FE-2E9E-4CB7-B5F1-C369A999B92C}"/>
    <dgm:cxn modelId="{903C2FC3-6D6A-4E6C-A0A0-223BE92BD1EF}" srcId="{D3FACFE7-1B95-4E9B-909A-B92DF4002740}" destId="{9ADC2949-CEC6-406B-99B7-9936379B87AC}" srcOrd="0" destOrd="0" parTransId="{0E154189-BE59-4CB0-B47C-D728CC0BF7D2}" sibTransId="{616AD290-9D1C-46FB-A39B-AF02D16F624A}"/>
    <dgm:cxn modelId="{A46E0089-00D8-47D2-AD77-B37AA4872CD5}" srcId="{D3FACFE7-1B95-4E9B-909A-B92DF4002740}" destId="{AA639053-9D11-484B-919C-4AF0960F5B7D}" srcOrd="2" destOrd="0" parTransId="{BF478821-AB98-4CD6-B7A9-492AFEBE3CC8}" sibTransId="{13F8DE4C-3EEC-49FB-8A26-0A3E3328E72E}"/>
    <dgm:cxn modelId="{43CA0439-AAE0-4A6E-825B-F9B7874AB38A}" type="presOf" srcId="{5C057080-3273-4FCD-8B88-5264008E10EF}" destId="{1DFD5881-F125-4AA2-971F-DB344147620F}" srcOrd="0" destOrd="0" presId="urn:microsoft.com/office/officeart/2005/8/layout/hierarchy3"/>
    <dgm:cxn modelId="{7FD1B37C-224E-4A10-9F96-E92070B40AB4}" type="presOf" srcId="{DF2BC6F1-E0F4-4D0F-8D4B-E8F702EA20A9}" destId="{18DD10DA-7BB1-4093-8085-874745FA8AF8}" srcOrd="0" destOrd="0" presId="urn:microsoft.com/office/officeart/2005/8/layout/hierarchy3"/>
    <dgm:cxn modelId="{63B0A889-5C88-4AF6-ADA0-0BF2C7D9F03A}" type="presOf" srcId="{3754933C-5A6E-4932-A595-077F73F200A5}" destId="{DBCA59E7-0C94-4E52-B1C9-7CD4A9A207AE}" srcOrd="0" destOrd="0" presId="urn:microsoft.com/office/officeart/2005/8/layout/hierarchy3"/>
    <dgm:cxn modelId="{AEC47811-5BB7-49AA-8855-DB7FE9D81D60}" type="presOf" srcId="{B2B7D77F-D1CA-4633-A8AE-75BBC8BC6688}" destId="{C7558D49-9210-4CA8-AB55-4FFA090CF877}" srcOrd="1" destOrd="0" presId="urn:microsoft.com/office/officeart/2005/8/layout/hierarchy3"/>
    <dgm:cxn modelId="{BBF6412B-75C3-4CCA-9EC2-10F58B8F62C1}" type="presOf" srcId="{C715A78D-7448-41DB-8245-02CB6AC3F416}" destId="{07ED3ACA-A86B-4F19-89A6-45ED0FDFB635}" srcOrd="0" destOrd="0" presId="urn:microsoft.com/office/officeart/2005/8/layout/hierarchy3"/>
    <dgm:cxn modelId="{F581565B-E57F-4EFF-B189-224CE5F5AC32}" srcId="{963CF1A4-A258-4448-B9D6-342364CDFF4B}" destId="{7C034425-C389-49F9-86D1-C5F9C82746F3}" srcOrd="0" destOrd="0" parTransId="{7756079A-0520-40F6-8489-CF3DA66A34D9}" sibTransId="{FAB472BF-1416-4637-A925-D579394F6857}"/>
    <dgm:cxn modelId="{9583717D-EE7D-4C22-A632-FC61B891A25E}" srcId="{B2B7D77F-D1CA-4633-A8AE-75BBC8BC6688}" destId="{50E56AC7-CF0A-4583-A749-CE95FCB894C9}" srcOrd="5" destOrd="0" parTransId="{DF2BC6F1-E0F4-4D0F-8D4B-E8F702EA20A9}" sibTransId="{BC4925B3-E8B4-4E29-A1D3-A381C811BDA8}"/>
    <dgm:cxn modelId="{CC874DCF-28DC-430E-B5AA-CC3C9A64E477}" type="presOf" srcId="{C45AB93F-E226-4DF9-AFFA-1849F54BB0DC}" destId="{035D4611-B5BE-4DF2-BAFD-C0555E5422F7}" srcOrd="0" destOrd="0" presId="urn:microsoft.com/office/officeart/2005/8/layout/hierarchy3"/>
    <dgm:cxn modelId="{9458D469-CF8D-4113-B4E6-72113483F81D}" type="presOf" srcId="{963CF1A4-A258-4448-B9D6-342364CDFF4B}" destId="{550C7D56-CB20-4589-B873-4DC8D6706F8E}" srcOrd="0" destOrd="0" presId="urn:microsoft.com/office/officeart/2005/8/layout/hierarchy3"/>
    <dgm:cxn modelId="{5BFB158D-20B9-4D7D-A828-0E3A0BC44F8B}" srcId="{D3FACFE7-1B95-4E9B-909A-B92DF4002740}" destId="{00B11E5E-4F3C-435B-BA9A-00EE25D553F9}" srcOrd="1" destOrd="0" parTransId="{28F6CDE3-DCD0-4BAD-A6EB-FEEDBF02740B}" sibTransId="{F83E4BF7-D0FE-4345-AD17-242F44F15DDD}"/>
    <dgm:cxn modelId="{01B00A28-1640-46B1-B394-9BE22FF9879C}" type="presOf" srcId="{65221AF2-1034-49A4-8C34-64D52112AF17}" destId="{EEA13E81-7540-4ADC-B24D-13EF92724A51}" srcOrd="0" destOrd="0" presId="urn:microsoft.com/office/officeart/2005/8/layout/hierarchy3"/>
    <dgm:cxn modelId="{4B01EDCE-F22D-4072-B1F3-CA60A023C236}" srcId="{B2B7D77F-D1CA-4633-A8AE-75BBC8BC6688}" destId="{64B12107-EAE0-47E1-AD40-2B588FB6A384}" srcOrd="6" destOrd="0" parTransId="{3754933C-5A6E-4932-A595-077F73F200A5}" sibTransId="{2E23CDCF-AB8B-4958-8F3D-5B00E709635D}"/>
    <dgm:cxn modelId="{3FBBC334-AD9C-4628-83A0-DA1AEDE0AF4D}" type="presOf" srcId="{E93011E5-C9D7-4121-8ECD-1909CF235860}" destId="{CEECA429-6CC9-4A40-8B87-C3D2F1649A0C}" srcOrd="0" destOrd="0" presId="urn:microsoft.com/office/officeart/2005/8/layout/hierarchy3"/>
    <dgm:cxn modelId="{2CC2BE19-7A47-4CD2-912B-938F3448B960}" srcId="{D3FACFE7-1B95-4E9B-909A-B92DF4002740}" destId="{A1443DD4-95EA-4B40-945F-22DF8E8AB444}" srcOrd="3" destOrd="0" parTransId="{B013AFA7-3EA9-4BC6-A4EE-061A057AE83E}" sibTransId="{0389D69B-A1C1-470F-9342-85C69FEED660}"/>
    <dgm:cxn modelId="{9D1FE51F-BCA6-461B-966A-C0AE0A75D70E}" type="presOf" srcId="{50E56AC7-CF0A-4583-A749-CE95FCB894C9}" destId="{8C724BFD-7B60-4545-AF98-1BD2EB009BD2}" srcOrd="0" destOrd="0" presId="urn:microsoft.com/office/officeart/2005/8/layout/hierarchy3"/>
    <dgm:cxn modelId="{D6074BDA-166E-4207-993F-01D796D55DA3}" type="presOf" srcId="{DC69DA9D-4F57-45F0-9348-2C41216F547B}" destId="{0DB4BC34-066A-474D-A407-44E482643F41}" srcOrd="0" destOrd="0" presId="urn:microsoft.com/office/officeart/2005/8/layout/hierarchy3"/>
    <dgm:cxn modelId="{882B0ACD-C182-4D7F-9D11-3D5F76C811C5}" srcId="{963CF1A4-A258-4448-B9D6-342364CDFF4B}" destId="{83BA2146-E3FF-4865-8E1B-673715293DBE}" srcOrd="3" destOrd="0" parTransId="{A184CA5A-55F0-4DDE-A469-A585F91B3CAB}" sibTransId="{437C5D7B-61B1-4836-9D51-E07DF4D75B18}"/>
    <dgm:cxn modelId="{F4E12EE2-0710-4C23-B1D3-77F26D846C61}" type="presOf" srcId="{963CF1A4-A258-4448-B9D6-342364CDFF4B}" destId="{A3EC7182-DBF3-4BF5-8BD5-AF3F044570C2}" srcOrd="1" destOrd="0" presId="urn:microsoft.com/office/officeart/2005/8/layout/hierarchy3"/>
    <dgm:cxn modelId="{2DEAF616-2713-4802-8678-90C334E6B5B4}" type="presOf" srcId="{06DA29E8-D8D1-437E-AB6A-D9EF3411AC2E}" destId="{3E87ECE6-5E37-44F9-A6FC-0CD90F6E9667}" srcOrd="0" destOrd="0" presId="urn:microsoft.com/office/officeart/2005/8/layout/hierarchy3"/>
    <dgm:cxn modelId="{76AA0E99-C0E4-4AEC-9F39-D6038A5E1CEA}" srcId="{B2B7D77F-D1CA-4633-A8AE-75BBC8BC6688}" destId="{7B01A4E4-18F3-4829-AB4E-CE459F0538A3}" srcOrd="0" destOrd="0" parTransId="{9002AB7D-B48F-40FF-B27E-4F147B37A1BC}" sibTransId="{815C8A61-8777-4CD5-A30D-B56921C6E96E}"/>
    <dgm:cxn modelId="{0EC96FAF-D6E9-43AE-9D4D-9C5BB00E84CF}" srcId="{CBE7D58A-D3BE-4BE4-A5D4-292BC9F59992}" destId="{B2B7D77F-D1CA-4633-A8AE-75BBC8BC6688}" srcOrd="1" destOrd="0" parTransId="{EE91DA38-4AD7-4904-BD98-CD3EDF2DBA78}" sibTransId="{8C10C461-AD06-4DBE-BCB0-A29E80F873D4}"/>
    <dgm:cxn modelId="{8E902F7F-C711-4C24-9466-AF67E9D3269A}" type="presOf" srcId="{64B12107-EAE0-47E1-AD40-2B588FB6A384}" destId="{EEF6C3B1-69FB-4CA2-BE81-E7ACDFE82F43}" srcOrd="0" destOrd="0" presId="urn:microsoft.com/office/officeart/2005/8/layout/hierarchy3"/>
    <dgm:cxn modelId="{2645C84E-D7F7-4AFE-A51D-3388E3746E98}" type="presOf" srcId="{D662AC0A-862B-4911-AD60-0A2E143006DE}" destId="{2F7C02D6-3991-4932-9AF5-B6A03B9D8F6B}" srcOrd="0" destOrd="0" presId="urn:microsoft.com/office/officeart/2005/8/layout/hierarchy3"/>
    <dgm:cxn modelId="{DEDC47A7-07A9-4888-93DD-FBC839471D0C}" type="presOf" srcId="{47EC012A-F41E-46A5-A6EF-BEF4FE5BE8E0}" destId="{3390D78A-BD75-4634-8176-ABC4B5EEC48F}" srcOrd="0" destOrd="0" presId="urn:microsoft.com/office/officeart/2005/8/layout/hierarchy3"/>
    <dgm:cxn modelId="{5B4AD5E6-8DD1-4EE9-A42A-544F22634933}" srcId="{D3FACFE7-1B95-4E9B-909A-B92DF4002740}" destId="{56C762C6-B270-4747-9E68-EF5DF91E2127}" srcOrd="6" destOrd="0" parTransId="{47EC012A-F41E-46A5-A6EF-BEF4FE5BE8E0}" sibTransId="{92B114F0-A1D6-4563-B9C7-60B387E38466}"/>
    <dgm:cxn modelId="{4999CA5A-E5BD-4F16-A802-C007C7AB8A42}" type="presOf" srcId="{7C034425-C389-49F9-86D1-C5F9C82746F3}" destId="{8E6C0099-34EF-48EF-A905-CFB4E24233C8}" srcOrd="0" destOrd="0" presId="urn:microsoft.com/office/officeart/2005/8/layout/hierarchy3"/>
    <dgm:cxn modelId="{30044481-5E9F-4E45-BE52-73C75AFE5CFC}" srcId="{963CF1A4-A258-4448-B9D6-342364CDFF4B}" destId="{54B19597-4123-4C82-9097-1E8397D16A61}" srcOrd="5" destOrd="0" parTransId="{73B6AC85-7601-4D18-ADFA-4380B665E919}" sibTransId="{BC0E4829-B985-4C01-84E0-8466A1A93B18}"/>
    <dgm:cxn modelId="{9DF05FA4-812D-45F0-8A31-3C1162594ACF}" srcId="{CBE7D58A-D3BE-4BE4-A5D4-292BC9F59992}" destId="{D3FACFE7-1B95-4E9B-909A-B92DF4002740}" srcOrd="0" destOrd="0" parTransId="{4006B834-743A-40FD-BD52-9827C6BFE43F}" sibTransId="{9B7ADDC0-BBBC-47AF-B1FE-20E447031947}"/>
    <dgm:cxn modelId="{6EACEB4B-349D-47F1-8B7D-B597D954C2AF}" type="presOf" srcId="{B755CEFE-FBCE-4EB3-8092-95664525C6F8}" destId="{26BC35F0-ACDC-4689-A93D-2AC86B4AA80A}" srcOrd="0" destOrd="0" presId="urn:microsoft.com/office/officeart/2005/8/layout/hierarchy3"/>
    <dgm:cxn modelId="{466123E6-5C96-406E-8F74-227F05E09FB2}" type="presOf" srcId="{0942348B-B4EF-414F-AD7F-BA236AC62AB6}" destId="{196201D4-2428-4B4D-85CF-F9C4795F13F9}" srcOrd="0" destOrd="0" presId="urn:microsoft.com/office/officeart/2005/8/layout/hierarchy3"/>
    <dgm:cxn modelId="{22E238A3-290F-4218-87D5-92C1FCC0E4F5}" type="presOf" srcId="{D3FACFE7-1B95-4E9B-909A-B92DF4002740}" destId="{716A137A-8884-4210-A8E5-19D661CC150D}" srcOrd="0" destOrd="0" presId="urn:microsoft.com/office/officeart/2005/8/layout/hierarchy3"/>
    <dgm:cxn modelId="{42478CA5-B323-4F95-A5EC-53B99523B285}" type="presOf" srcId="{22016B11-A8D4-46ED-B7EE-75D124B9986F}" destId="{09B087AA-C59B-4677-AEE6-686F8F0ED446}" srcOrd="0" destOrd="0" presId="urn:microsoft.com/office/officeart/2005/8/layout/hierarchy3"/>
    <dgm:cxn modelId="{9A1028DF-E17D-4400-8049-4C4CD00E3168}" type="presOf" srcId="{D3FACFE7-1B95-4E9B-909A-B92DF4002740}" destId="{361E9E66-12E6-46D5-941B-1B176AA59564}" srcOrd="1" destOrd="0" presId="urn:microsoft.com/office/officeart/2005/8/layout/hierarchy3"/>
    <dgm:cxn modelId="{63288B23-9554-4305-BF5E-0C065DF71A53}" type="presOf" srcId="{A184CA5A-55F0-4DDE-A469-A585F91B3CAB}" destId="{0DBFF0FF-12B8-4239-9453-33B057A4CAF6}" srcOrd="0" destOrd="0" presId="urn:microsoft.com/office/officeart/2005/8/layout/hierarchy3"/>
    <dgm:cxn modelId="{36286380-177A-45C2-A147-00281DAC3612}" type="presOf" srcId="{1CB2F749-5A4B-4601-8E06-146F6DE916BA}" destId="{6005EAB6-89C3-4795-9E71-0D8F262610F1}" srcOrd="0" destOrd="0" presId="urn:microsoft.com/office/officeart/2005/8/layout/hierarchy3"/>
    <dgm:cxn modelId="{517EDAFF-59FA-478D-A95A-1D1C01A3C0ED}" type="presOf" srcId="{56C762C6-B270-4747-9E68-EF5DF91E2127}" destId="{E86775B4-461B-4FA0-9E28-B3F4C7601360}" srcOrd="0" destOrd="0" presId="urn:microsoft.com/office/officeart/2005/8/layout/hierarchy3"/>
    <dgm:cxn modelId="{C7C68214-A7D1-472C-AB06-2F5ED73F9293}" type="presOf" srcId="{73B6AC85-7601-4D18-ADFA-4380B665E919}" destId="{C0F8714C-C4D2-47EC-B560-847CB893546A}" srcOrd="0" destOrd="0" presId="urn:microsoft.com/office/officeart/2005/8/layout/hierarchy3"/>
    <dgm:cxn modelId="{B1A78FBC-F368-4BAA-8428-B1E61CC5875E}" type="presOf" srcId="{AA639053-9D11-484B-919C-4AF0960F5B7D}" destId="{51B0E91A-8FEA-4D7C-AAF5-323C92D276DF}" srcOrd="0" destOrd="0" presId="urn:microsoft.com/office/officeart/2005/8/layout/hierarchy3"/>
    <dgm:cxn modelId="{A4A42835-808E-41F3-A6CD-9F9D9377695D}" srcId="{D3FACFE7-1B95-4E9B-909A-B92DF4002740}" destId="{5C057080-3273-4FCD-8B88-5264008E10EF}" srcOrd="4" destOrd="0" parTransId="{C45AB93F-E226-4DF9-AFFA-1849F54BB0DC}" sibTransId="{ACCCDC2D-C5CC-4238-A38C-B77ED840B02C}"/>
    <dgm:cxn modelId="{3B0FC45D-896A-4AC8-9101-9781B86AA616}" type="presOf" srcId="{7756079A-0520-40F6-8489-CF3DA66A34D9}" destId="{2CA151B7-1CE3-41C0-A5A4-2D231E793ABA}" srcOrd="0" destOrd="0" presId="urn:microsoft.com/office/officeart/2005/8/layout/hierarchy3"/>
    <dgm:cxn modelId="{4DCFF98C-2AD4-4B6C-97BC-89B74A9C8C99}" type="presOf" srcId="{CBE7D58A-D3BE-4BE4-A5D4-292BC9F59992}" destId="{CA849BA3-0290-4B1D-A0C7-076C81190260}" srcOrd="0" destOrd="0" presId="urn:microsoft.com/office/officeart/2005/8/layout/hierarchy3"/>
    <dgm:cxn modelId="{C448152E-27CC-4BC4-B575-CDCDA99B0011}" type="presOf" srcId="{54B19597-4123-4C82-9097-1E8397D16A61}" destId="{F760473D-E2BE-44D8-BFEA-A0A81ADAC655}" srcOrd="0" destOrd="0" presId="urn:microsoft.com/office/officeart/2005/8/layout/hierarchy3"/>
    <dgm:cxn modelId="{35D65FCE-DB8A-45D9-BFF2-84875550CFDA}" srcId="{B2B7D77F-D1CA-4633-A8AE-75BBC8BC6688}" destId="{1CB2F749-5A4B-4601-8E06-146F6DE916BA}" srcOrd="1" destOrd="0" parTransId="{D662AC0A-862B-4911-AD60-0A2E143006DE}" sibTransId="{2D04020D-7EBD-44FD-8A2E-0E7124737AB7}"/>
    <dgm:cxn modelId="{C471D7D4-9493-4D0A-A7B1-4C67F2B9FAB3}" type="presParOf" srcId="{CA849BA3-0290-4B1D-A0C7-076C81190260}" destId="{4817F196-1321-410C-B9C8-74B777AB4FF5}" srcOrd="0" destOrd="0" presId="urn:microsoft.com/office/officeart/2005/8/layout/hierarchy3"/>
    <dgm:cxn modelId="{6CDD642E-CE85-4249-8050-2961993D9D20}" type="presParOf" srcId="{4817F196-1321-410C-B9C8-74B777AB4FF5}" destId="{4098E448-C17A-4D67-ACBA-3D07EF0EB595}" srcOrd="0" destOrd="0" presId="urn:microsoft.com/office/officeart/2005/8/layout/hierarchy3"/>
    <dgm:cxn modelId="{FAE0582F-1D89-48CD-B600-9D8292FEAE6C}" type="presParOf" srcId="{4098E448-C17A-4D67-ACBA-3D07EF0EB595}" destId="{716A137A-8884-4210-A8E5-19D661CC150D}" srcOrd="0" destOrd="0" presId="urn:microsoft.com/office/officeart/2005/8/layout/hierarchy3"/>
    <dgm:cxn modelId="{E3342C8D-79EF-4EB6-8125-671F835BAD2E}" type="presParOf" srcId="{4098E448-C17A-4D67-ACBA-3D07EF0EB595}" destId="{361E9E66-12E6-46D5-941B-1B176AA59564}" srcOrd="1" destOrd="0" presId="urn:microsoft.com/office/officeart/2005/8/layout/hierarchy3"/>
    <dgm:cxn modelId="{1E449A47-D50F-4DC1-A432-3DAFFC0BC3F3}" type="presParOf" srcId="{4817F196-1321-410C-B9C8-74B777AB4FF5}" destId="{3D3A3D05-976A-4141-8C4C-6394F7115036}" srcOrd="1" destOrd="0" presId="urn:microsoft.com/office/officeart/2005/8/layout/hierarchy3"/>
    <dgm:cxn modelId="{CE5B7D45-0354-4116-AAA8-FF83232F4CE2}" type="presParOf" srcId="{3D3A3D05-976A-4141-8C4C-6394F7115036}" destId="{777A6F5F-F1C7-4893-8354-F2217064ECC1}" srcOrd="0" destOrd="0" presId="urn:microsoft.com/office/officeart/2005/8/layout/hierarchy3"/>
    <dgm:cxn modelId="{32FF363D-5B7A-4D12-85A8-8573C853D74D}" type="presParOf" srcId="{3D3A3D05-976A-4141-8C4C-6394F7115036}" destId="{3C37F822-7F9D-4758-90B3-5EC8531C85A8}" srcOrd="1" destOrd="0" presId="urn:microsoft.com/office/officeart/2005/8/layout/hierarchy3"/>
    <dgm:cxn modelId="{AA89DE2D-6F3D-468F-AF15-7F6553E4D2DF}" type="presParOf" srcId="{3D3A3D05-976A-4141-8C4C-6394F7115036}" destId="{0A0DE923-F312-4C59-A99E-7A362EB67F9D}" srcOrd="2" destOrd="0" presId="urn:microsoft.com/office/officeart/2005/8/layout/hierarchy3"/>
    <dgm:cxn modelId="{270A533E-8AF0-46A8-80F7-3B5C7C6FF22E}" type="presParOf" srcId="{3D3A3D05-976A-4141-8C4C-6394F7115036}" destId="{75C7782B-A0C5-4AE2-B028-4471427D949D}" srcOrd="3" destOrd="0" presId="urn:microsoft.com/office/officeart/2005/8/layout/hierarchy3"/>
    <dgm:cxn modelId="{BA03A4AC-5F36-490B-A554-1BD470B40426}" type="presParOf" srcId="{3D3A3D05-976A-4141-8C4C-6394F7115036}" destId="{12B9168C-D099-49A7-8CE4-A8B2008782C2}" srcOrd="4" destOrd="0" presId="urn:microsoft.com/office/officeart/2005/8/layout/hierarchy3"/>
    <dgm:cxn modelId="{C8B77B59-B71F-446D-B810-94C7F8F8271C}" type="presParOf" srcId="{3D3A3D05-976A-4141-8C4C-6394F7115036}" destId="{51B0E91A-8FEA-4D7C-AAF5-323C92D276DF}" srcOrd="5" destOrd="0" presId="urn:microsoft.com/office/officeart/2005/8/layout/hierarchy3"/>
    <dgm:cxn modelId="{C0AF1886-49CD-45A6-ACA8-A7360A56F95D}" type="presParOf" srcId="{3D3A3D05-976A-4141-8C4C-6394F7115036}" destId="{596059F0-31A5-462F-B789-3E60E1CF6047}" srcOrd="6" destOrd="0" presId="urn:microsoft.com/office/officeart/2005/8/layout/hierarchy3"/>
    <dgm:cxn modelId="{E1E7556A-CF4B-466D-ACE8-629440A52158}" type="presParOf" srcId="{3D3A3D05-976A-4141-8C4C-6394F7115036}" destId="{31697EBC-D13F-4A5A-A23F-982B7314FC3A}" srcOrd="7" destOrd="0" presId="urn:microsoft.com/office/officeart/2005/8/layout/hierarchy3"/>
    <dgm:cxn modelId="{EAD3E116-50C6-4DFF-A58E-4EBC7D7A34DD}" type="presParOf" srcId="{3D3A3D05-976A-4141-8C4C-6394F7115036}" destId="{035D4611-B5BE-4DF2-BAFD-C0555E5422F7}" srcOrd="8" destOrd="0" presId="urn:microsoft.com/office/officeart/2005/8/layout/hierarchy3"/>
    <dgm:cxn modelId="{450D23B0-0C79-46C2-AE66-B15109FCA724}" type="presParOf" srcId="{3D3A3D05-976A-4141-8C4C-6394F7115036}" destId="{1DFD5881-F125-4AA2-971F-DB344147620F}" srcOrd="9" destOrd="0" presId="urn:microsoft.com/office/officeart/2005/8/layout/hierarchy3"/>
    <dgm:cxn modelId="{429F09B5-5F7C-4566-AF34-95B9F44D7A75}" type="presParOf" srcId="{3D3A3D05-976A-4141-8C4C-6394F7115036}" destId="{9383F6AE-A2C3-4421-9D23-4B982154F1CC}" srcOrd="10" destOrd="0" presId="urn:microsoft.com/office/officeart/2005/8/layout/hierarchy3"/>
    <dgm:cxn modelId="{B4231C80-4981-41E8-90A7-E1E4B8C0DC0A}" type="presParOf" srcId="{3D3A3D05-976A-4141-8C4C-6394F7115036}" destId="{A4932158-8409-41E4-8D29-626905C9E524}" srcOrd="11" destOrd="0" presId="urn:microsoft.com/office/officeart/2005/8/layout/hierarchy3"/>
    <dgm:cxn modelId="{984D153F-B6C9-4003-8AD0-107E0C2B2333}" type="presParOf" srcId="{3D3A3D05-976A-4141-8C4C-6394F7115036}" destId="{3390D78A-BD75-4634-8176-ABC4B5EEC48F}" srcOrd="12" destOrd="0" presId="urn:microsoft.com/office/officeart/2005/8/layout/hierarchy3"/>
    <dgm:cxn modelId="{63EBEA6E-35FA-4076-823E-DCCD9B05DB87}" type="presParOf" srcId="{3D3A3D05-976A-4141-8C4C-6394F7115036}" destId="{E86775B4-461B-4FA0-9E28-B3F4C7601360}" srcOrd="13" destOrd="0" presId="urn:microsoft.com/office/officeart/2005/8/layout/hierarchy3"/>
    <dgm:cxn modelId="{6E16EDB8-12D0-4079-84D4-CDF56161F502}" type="presParOf" srcId="{CA849BA3-0290-4B1D-A0C7-076C81190260}" destId="{31689860-76EA-4523-A437-56AF69F3908E}" srcOrd="1" destOrd="0" presId="urn:microsoft.com/office/officeart/2005/8/layout/hierarchy3"/>
    <dgm:cxn modelId="{32D591A5-48DC-4942-9DC0-BDB34E4364BD}" type="presParOf" srcId="{31689860-76EA-4523-A437-56AF69F3908E}" destId="{52578F80-9A0B-4F51-A7DE-7254D2B6C5B3}" srcOrd="0" destOrd="0" presId="urn:microsoft.com/office/officeart/2005/8/layout/hierarchy3"/>
    <dgm:cxn modelId="{C62ABED1-AB58-454F-A61C-F78806BD2C6D}" type="presParOf" srcId="{52578F80-9A0B-4F51-A7DE-7254D2B6C5B3}" destId="{8050E6DC-DE09-4969-A672-76CD2A400924}" srcOrd="0" destOrd="0" presId="urn:microsoft.com/office/officeart/2005/8/layout/hierarchy3"/>
    <dgm:cxn modelId="{BBCC8285-AC09-4758-AB87-76CB13084ED2}" type="presParOf" srcId="{52578F80-9A0B-4F51-A7DE-7254D2B6C5B3}" destId="{C7558D49-9210-4CA8-AB55-4FFA090CF877}" srcOrd="1" destOrd="0" presId="urn:microsoft.com/office/officeart/2005/8/layout/hierarchy3"/>
    <dgm:cxn modelId="{D42C0AA6-D602-453B-94A4-42BB037DA482}" type="presParOf" srcId="{31689860-76EA-4523-A437-56AF69F3908E}" destId="{3F25A56A-37F2-44A4-A31C-BD7FBF9DCEEF}" srcOrd="1" destOrd="0" presId="urn:microsoft.com/office/officeart/2005/8/layout/hierarchy3"/>
    <dgm:cxn modelId="{5F602D89-AE03-40BF-B26D-DF5658D04CE1}" type="presParOf" srcId="{3F25A56A-37F2-44A4-A31C-BD7FBF9DCEEF}" destId="{203A84D0-B14A-413D-8819-C5B156AA3617}" srcOrd="0" destOrd="0" presId="urn:microsoft.com/office/officeart/2005/8/layout/hierarchy3"/>
    <dgm:cxn modelId="{DFB5ABAE-8F9F-44F3-AC06-363EA5E4DBEB}" type="presParOf" srcId="{3F25A56A-37F2-44A4-A31C-BD7FBF9DCEEF}" destId="{8995B9E0-ED98-40D1-8348-F7AC13674CAE}" srcOrd="1" destOrd="0" presId="urn:microsoft.com/office/officeart/2005/8/layout/hierarchy3"/>
    <dgm:cxn modelId="{52117FCE-636E-44D4-A9F7-3985338C07A6}" type="presParOf" srcId="{3F25A56A-37F2-44A4-A31C-BD7FBF9DCEEF}" destId="{2F7C02D6-3991-4932-9AF5-B6A03B9D8F6B}" srcOrd="2" destOrd="0" presId="urn:microsoft.com/office/officeart/2005/8/layout/hierarchy3"/>
    <dgm:cxn modelId="{70D233EE-1903-4EEA-992F-11945498630C}" type="presParOf" srcId="{3F25A56A-37F2-44A4-A31C-BD7FBF9DCEEF}" destId="{6005EAB6-89C3-4795-9E71-0D8F262610F1}" srcOrd="3" destOrd="0" presId="urn:microsoft.com/office/officeart/2005/8/layout/hierarchy3"/>
    <dgm:cxn modelId="{887B11B4-CDA0-4945-B1CA-2DBF8FB87270}" type="presParOf" srcId="{3F25A56A-37F2-44A4-A31C-BD7FBF9DCEEF}" destId="{F2719BA2-EDBB-47B0-912A-D1417D74B346}" srcOrd="4" destOrd="0" presId="urn:microsoft.com/office/officeart/2005/8/layout/hierarchy3"/>
    <dgm:cxn modelId="{864B6A46-6EF7-4B40-8411-916BE96FCC3F}" type="presParOf" srcId="{3F25A56A-37F2-44A4-A31C-BD7FBF9DCEEF}" destId="{CEECA429-6CC9-4A40-8B87-C3D2F1649A0C}" srcOrd="5" destOrd="0" presId="urn:microsoft.com/office/officeart/2005/8/layout/hierarchy3"/>
    <dgm:cxn modelId="{2A1C6346-8CF5-47A1-AF72-935E2CFAF1DD}" type="presParOf" srcId="{3F25A56A-37F2-44A4-A31C-BD7FBF9DCEEF}" destId="{143BA537-EACE-4CA9-9186-3E47F3700BDF}" srcOrd="6" destOrd="0" presId="urn:microsoft.com/office/officeart/2005/8/layout/hierarchy3"/>
    <dgm:cxn modelId="{A727A4E2-FC64-4E19-8A42-B64B7F658EDC}" type="presParOf" srcId="{3F25A56A-37F2-44A4-A31C-BD7FBF9DCEEF}" destId="{3E87ECE6-5E37-44F9-A6FC-0CD90F6E9667}" srcOrd="7" destOrd="0" presId="urn:microsoft.com/office/officeart/2005/8/layout/hierarchy3"/>
    <dgm:cxn modelId="{0AD1B76E-2E9C-4A1B-AD64-66113258FD6D}" type="presParOf" srcId="{3F25A56A-37F2-44A4-A31C-BD7FBF9DCEEF}" destId="{85D26A88-B113-43B0-95FE-B30DB10D056B}" srcOrd="8" destOrd="0" presId="urn:microsoft.com/office/officeart/2005/8/layout/hierarchy3"/>
    <dgm:cxn modelId="{03BB9710-C30A-48CD-93B6-58F86A7D5DFF}" type="presParOf" srcId="{3F25A56A-37F2-44A4-A31C-BD7FBF9DCEEF}" destId="{09B087AA-C59B-4677-AEE6-686F8F0ED446}" srcOrd="9" destOrd="0" presId="urn:microsoft.com/office/officeart/2005/8/layout/hierarchy3"/>
    <dgm:cxn modelId="{F46A78C8-055B-47D1-B511-7DE0E10CAAE7}" type="presParOf" srcId="{3F25A56A-37F2-44A4-A31C-BD7FBF9DCEEF}" destId="{18DD10DA-7BB1-4093-8085-874745FA8AF8}" srcOrd="10" destOrd="0" presId="urn:microsoft.com/office/officeart/2005/8/layout/hierarchy3"/>
    <dgm:cxn modelId="{F914E234-7F02-40E7-B104-3EE806BCD011}" type="presParOf" srcId="{3F25A56A-37F2-44A4-A31C-BD7FBF9DCEEF}" destId="{8C724BFD-7B60-4545-AF98-1BD2EB009BD2}" srcOrd="11" destOrd="0" presId="urn:microsoft.com/office/officeart/2005/8/layout/hierarchy3"/>
    <dgm:cxn modelId="{CA143601-E82C-48CC-ACA6-4B331ECBE88D}" type="presParOf" srcId="{3F25A56A-37F2-44A4-A31C-BD7FBF9DCEEF}" destId="{DBCA59E7-0C94-4E52-B1C9-7CD4A9A207AE}" srcOrd="12" destOrd="0" presId="urn:microsoft.com/office/officeart/2005/8/layout/hierarchy3"/>
    <dgm:cxn modelId="{3B1B4047-29DE-4048-A1BB-12AFD5D1B5E7}" type="presParOf" srcId="{3F25A56A-37F2-44A4-A31C-BD7FBF9DCEEF}" destId="{EEF6C3B1-69FB-4CA2-BE81-E7ACDFE82F43}" srcOrd="13" destOrd="0" presId="urn:microsoft.com/office/officeart/2005/8/layout/hierarchy3"/>
    <dgm:cxn modelId="{C2681D9A-4322-40E8-9DBD-64974C216AE2}" type="presParOf" srcId="{CA849BA3-0290-4B1D-A0C7-076C81190260}" destId="{2118AECB-774B-4ED2-92C3-DC5000387D88}" srcOrd="2" destOrd="0" presId="urn:microsoft.com/office/officeart/2005/8/layout/hierarchy3"/>
    <dgm:cxn modelId="{31F3B93F-9E2C-4E4D-A1B4-AC45F2175BF9}" type="presParOf" srcId="{2118AECB-774B-4ED2-92C3-DC5000387D88}" destId="{3A8472E8-C132-4F2A-9875-5531019F84B0}" srcOrd="0" destOrd="0" presId="urn:microsoft.com/office/officeart/2005/8/layout/hierarchy3"/>
    <dgm:cxn modelId="{429EAACE-C23C-4123-8F96-F2EDBCFDA8B8}" type="presParOf" srcId="{3A8472E8-C132-4F2A-9875-5531019F84B0}" destId="{550C7D56-CB20-4589-B873-4DC8D6706F8E}" srcOrd="0" destOrd="0" presId="urn:microsoft.com/office/officeart/2005/8/layout/hierarchy3"/>
    <dgm:cxn modelId="{A664B163-DADE-418E-86BF-5708B92C97DB}" type="presParOf" srcId="{3A8472E8-C132-4F2A-9875-5531019F84B0}" destId="{A3EC7182-DBF3-4BF5-8BD5-AF3F044570C2}" srcOrd="1" destOrd="0" presId="urn:microsoft.com/office/officeart/2005/8/layout/hierarchy3"/>
    <dgm:cxn modelId="{EEB0897F-1B5A-4F08-813B-D4EF4C137CEE}" type="presParOf" srcId="{2118AECB-774B-4ED2-92C3-DC5000387D88}" destId="{023B16F0-8691-4C2C-ABEA-0233D3BCA3F9}" srcOrd="1" destOrd="0" presId="urn:microsoft.com/office/officeart/2005/8/layout/hierarchy3"/>
    <dgm:cxn modelId="{17502287-CA82-43BE-ACE6-8EEE773B460F}" type="presParOf" srcId="{023B16F0-8691-4C2C-ABEA-0233D3BCA3F9}" destId="{2CA151B7-1CE3-41C0-A5A4-2D231E793ABA}" srcOrd="0" destOrd="0" presId="urn:microsoft.com/office/officeart/2005/8/layout/hierarchy3"/>
    <dgm:cxn modelId="{87EFC74A-B30E-40AD-8409-8EEE870F1BC2}" type="presParOf" srcId="{023B16F0-8691-4C2C-ABEA-0233D3BCA3F9}" destId="{8E6C0099-34EF-48EF-A905-CFB4E24233C8}" srcOrd="1" destOrd="0" presId="urn:microsoft.com/office/officeart/2005/8/layout/hierarchy3"/>
    <dgm:cxn modelId="{EBEB5692-1B0D-4CE4-B928-2561C719574C}" type="presParOf" srcId="{023B16F0-8691-4C2C-ABEA-0233D3BCA3F9}" destId="{07ED3ACA-A86B-4F19-89A6-45ED0FDFB635}" srcOrd="2" destOrd="0" presId="urn:microsoft.com/office/officeart/2005/8/layout/hierarchy3"/>
    <dgm:cxn modelId="{3ABE0BA4-807C-4949-BBAB-8581FE902FF2}" type="presParOf" srcId="{023B16F0-8691-4C2C-ABEA-0233D3BCA3F9}" destId="{B99B76DA-A860-4491-88D5-00644994CAD7}" srcOrd="3" destOrd="0" presId="urn:microsoft.com/office/officeart/2005/8/layout/hierarchy3"/>
    <dgm:cxn modelId="{E8650418-BBA4-43F9-A94F-46679F1FE166}" type="presParOf" srcId="{023B16F0-8691-4C2C-ABEA-0233D3BCA3F9}" destId="{EEA13E81-7540-4ADC-B24D-13EF92724A51}" srcOrd="4" destOrd="0" presId="urn:microsoft.com/office/officeart/2005/8/layout/hierarchy3"/>
    <dgm:cxn modelId="{2B997089-3A15-40A5-82AE-97B6795A63B8}" type="presParOf" srcId="{023B16F0-8691-4C2C-ABEA-0233D3BCA3F9}" destId="{26BC35F0-ACDC-4689-A93D-2AC86B4AA80A}" srcOrd="5" destOrd="0" presId="urn:microsoft.com/office/officeart/2005/8/layout/hierarchy3"/>
    <dgm:cxn modelId="{7B4D722F-375C-47A8-9E19-E315AA2B9777}" type="presParOf" srcId="{023B16F0-8691-4C2C-ABEA-0233D3BCA3F9}" destId="{0DBFF0FF-12B8-4239-9453-33B057A4CAF6}" srcOrd="6" destOrd="0" presId="urn:microsoft.com/office/officeart/2005/8/layout/hierarchy3"/>
    <dgm:cxn modelId="{2B1EF395-22FD-4CE3-A73D-AD5CBB847DC8}" type="presParOf" srcId="{023B16F0-8691-4C2C-ABEA-0233D3BCA3F9}" destId="{354F00D4-E237-4A7B-8660-9DFAE42DA40E}" srcOrd="7" destOrd="0" presId="urn:microsoft.com/office/officeart/2005/8/layout/hierarchy3"/>
    <dgm:cxn modelId="{4FF1D03C-D05A-49E0-A30F-65A9AB50C40C}" type="presParOf" srcId="{023B16F0-8691-4C2C-ABEA-0233D3BCA3F9}" destId="{0DB4BC34-066A-474D-A407-44E482643F41}" srcOrd="8" destOrd="0" presId="urn:microsoft.com/office/officeart/2005/8/layout/hierarchy3"/>
    <dgm:cxn modelId="{A793326B-0D1E-4389-AA6D-856933CC3CF5}" type="presParOf" srcId="{023B16F0-8691-4C2C-ABEA-0233D3BCA3F9}" destId="{196201D4-2428-4B4D-85CF-F9C4795F13F9}" srcOrd="9" destOrd="0" presId="urn:microsoft.com/office/officeart/2005/8/layout/hierarchy3"/>
    <dgm:cxn modelId="{D95ED492-200D-4E0D-838D-B620B6306484}" type="presParOf" srcId="{023B16F0-8691-4C2C-ABEA-0233D3BCA3F9}" destId="{C0F8714C-C4D2-47EC-B560-847CB893546A}" srcOrd="10" destOrd="0" presId="urn:microsoft.com/office/officeart/2005/8/layout/hierarchy3"/>
    <dgm:cxn modelId="{F9896620-EDF8-4C65-8688-60D30B983A13}" type="presParOf" srcId="{023B16F0-8691-4C2C-ABEA-0233D3BCA3F9}" destId="{F760473D-E2BE-44D8-BFEA-A0A81ADAC655}" srcOrd="11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16A137A-8884-4210-A8E5-19D661CC150D}">
      <dsp:nvSpPr>
        <dsp:cNvPr id="0" name=""/>
        <dsp:cNvSpPr/>
      </dsp:nvSpPr>
      <dsp:spPr>
        <a:xfrm>
          <a:off x="914920" y="725"/>
          <a:ext cx="1218902" cy="609451"/>
        </a:xfrm>
        <a:prstGeom prst="roundRect">
          <a:avLst>
            <a:gd name="adj" fmla="val 10000"/>
          </a:avLst>
        </a:prstGeom>
        <a:solidFill>
          <a:schemeClr val="accent3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Applications</a:t>
          </a:r>
          <a:endParaRPr lang="en-US" sz="1600" kern="1200" dirty="0"/>
        </a:p>
      </dsp:txBody>
      <dsp:txXfrm>
        <a:off x="932770" y="18575"/>
        <a:ext cx="1183202" cy="573751"/>
      </dsp:txXfrm>
    </dsp:sp>
    <dsp:sp modelId="{777A6F5F-F1C7-4893-8354-F2217064ECC1}">
      <dsp:nvSpPr>
        <dsp:cNvPr id="0" name=""/>
        <dsp:cNvSpPr/>
      </dsp:nvSpPr>
      <dsp:spPr>
        <a:xfrm>
          <a:off x="1036811" y="610176"/>
          <a:ext cx="121890" cy="45708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57088"/>
              </a:lnTo>
              <a:lnTo>
                <a:pt x="121890" y="457088"/>
              </a:lnTo>
            </a:path>
          </a:pathLst>
        </a:custGeom>
        <a:noFill/>
        <a:ln w="25400" cap="flat" cmpd="sng" algn="ctr">
          <a:solidFill>
            <a:schemeClr val="accent3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C37F822-7F9D-4758-90B3-5EC8531C85A8}">
      <dsp:nvSpPr>
        <dsp:cNvPr id="0" name=""/>
        <dsp:cNvSpPr/>
      </dsp:nvSpPr>
      <dsp:spPr>
        <a:xfrm>
          <a:off x="1158701" y="762539"/>
          <a:ext cx="975121" cy="60945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145" tIns="11430" rIns="17145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Credit Scoring</a:t>
          </a:r>
          <a:endParaRPr lang="en-US" sz="900" kern="1200" dirty="0"/>
        </a:p>
      </dsp:txBody>
      <dsp:txXfrm>
        <a:off x="1176551" y="780389"/>
        <a:ext cx="939421" cy="573751"/>
      </dsp:txXfrm>
    </dsp:sp>
    <dsp:sp modelId="{0A0DE923-F312-4C59-A99E-7A362EB67F9D}">
      <dsp:nvSpPr>
        <dsp:cNvPr id="0" name=""/>
        <dsp:cNvSpPr/>
      </dsp:nvSpPr>
      <dsp:spPr>
        <a:xfrm>
          <a:off x="1036811" y="610176"/>
          <a:ext cx="121890" cy="12189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18902"/>
              </a:lnTo>
              <a:lnTo>
                <a:pt x="121890" y="1218902"/>
              </a:lnTo>
            </a:path>
          </a:pathLst>
        </a:custGeom>
        <a:noFill/>
        <a:ln w="25400" cap="flat" cmpd="sng" algn="ctr">
          <a:solidFill>
            <a:schemeClr val="accent3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5C7782B-A0C5-4AE2-B028-4471427D949D}">
      <dsp:nvSpPr>
        <dsp:cNvPr id="0" name=""/>
        <dsp:cNvSpPr/>
      </dsp:nvSpPr>
      <dsp:spPr>
        <a:xfrm>
          <a:off x="1158701" y="1524353"/>
          <a:ext cx="975121" cy="60945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145" tIns="11430" rIns="17145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Fraud Detection</a:t>
          </a:r>
          <a:endParaRPr lang="en-US" sz="900" kern="1200" dirty="0"/>
        </a:p>
      </dsp:txBody>
      <dsp:txXfrm>
        <a:off x="1176551" y="1542203"/>
        <a:ext cx="939421" cy="573751"/>
      </dsp:txXfrm>
    </dsp:sp>
    <dsp:sp modelId="{12B9168C-D099-49A7-8CE4-A8B2008782C2}">
      <dsp:nvSpPr>
        <dsp:cNvPr id="0" name=""/>
        <dsp:cNvSpPr/>
      </dsp:nvSpPr>
      <dsp:spPr>
        <a:xfrm>
          <a:off x="1036811" y="610176"/>
          <a:ext cx="121890" cy="198071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80716"/>
              </a:lnTo>
              <a:lnTo>
                <a:pt x="121890" y="1980716"/>
              </a:lnTo>
            </a:path>
          </a:pathLst>
        </a:custGeom>
        <a:noFill/>
        <a:ln w="25400" cap="flat" cmpd="sng" algn="ctr">
          <a:solidFill>
            <a:schemeClr val="accent3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1B0E91A-8FEA-4D7C-AAF5-323C92D276DF}">
      <dsp:nvSpPr>
        <dsp:cNvPr id="0" name=""/>
        <dsp:cNvSpPr/>
      </dsp:nvSpPr>
      <dsp:spPr>
        <a:xfrm>
          <a:off x="1158701" y="2286167"/>
          <a:ext cx="975121" cy="60945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145" tIns="11430" rIns="17145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Ad Optimization</a:t>
          </a:r>
          <a:endParaRPr lang="en-US" sz="900" kern="1200" dirty="0"/>
        </a:p>
      </dsp:txBody>
      <dsp:txXfrm>
        <a:off x="1176551" y="2304017"/>
        <a:ext cx="939421" cy="573751"/>
      </dsp:txXfrm>
    </dsp:sp>
    <dsp:sp modelId="{596059F0-31A5-462F-B789-3E60E1CF6047}">
      <dsp:nvSpPr>
        <dsp:cNvPr id="0" name=""/>
        <dsp:cNvSpPr/>
      </dsp:nvSpPr>
      <dsp:spPr>
        <a:xfrm>
          <a:off x="1036811" y="610176"/>
          <a:ext cx="121890" cy="274253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42530"/>
              </a:lnTo>
              <a:lnTo>
                <a:pt x="121890" y="2742530"/>
              </a:lnTo>
            </a:path>
          </a:pathLst>
        </a:custGeom>
        <a:noFill/>
        <a:ln w="25400" cap="flat" cmpd="sng" algn="ctr">
          <a:solidFill>
            <a:schemeClr val="accent3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1697EBC-D13F-4A5A-A23F-982B7314FC3A}">
      <dsp:nvSpPr>
        <dsp:cNvPr id="0" name=""/>
        <dsp:cNvSpPr/>
      </dsp:nvSpPr>
      <dsp:spPr>
        <a:xfrm>
          <a:off x="1158701" y="3047981"/>
          <a:ext cx="975121" cy="60945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145" tIns="11430" rIns="17145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Targeted Marketing</a:t>
          </a:r>
          <a:endParaRPr lang="en-US" sz="900" kern="1200" dirty="0"/>
        </a:p>
      </dsp:txBody>
      <dsp:txXfrm>
        <a:off x="1176551" y="3065831"/>
        <a:ext cx="939421" cy="573751"/>
      </dsp:txXfrm>
    </dsp:sp>
    <dsp:sp modelId="{035D4611-B5BE-4DF2-BAFD-C0555E5422F7}">
      <dsp:nvSpPr>
        <dsp:cNvPr id="0" name=""/>
        <dsp:cNvSpPr/>
      </dsp:nvSpPr>
      <dsp:spPr>
        <a:xfrm>
          <a:off x="1036811" y="610176"/>
          <a:ext cx="121890" cy="350434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504344"/>
              </a:lnTo>
              <a:lnTo>
                <a:pt x="121890" y="3504344"/>
              </a:lnTo>
            </a:path>
          </a:pathLst>
        </a:custGeom>
        <a:noFill/>
        <a:ln w="25400" cap="flat" cmpd="sng" algn="ctr">
          <a:solidFill>
            <a:schemeClr val="accent3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DFD5881-F125-4AA2-971F-DB344147620F}">
      <dsp:nvSpPr>
        <dsp:cNvPr id="0" name=""/>
        <dsp:cNvSpPr/>
      </dsp:nvSpPr>
      <dsp:spPr>
        <a:xfrm>
          <a:off x="1158701" y="3809795"/>
          <a:ext cx="975121" cy="60945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145" tIns="11430" rIns="17145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Gene Detection</a:t>
          </a:r>
          <a:endParaRPr lang="en-US" sz="900" kern="1200" dirty="0"/>
        </a:p>
      </dsp:txBody>
      <dsp:txXfrm>
        <a:off x="1176551" y="3827645"/>
        <a:ext cx="939421" cy="573751"/>
      </dsp:txXfrm>
    </dsp:sp>
    <dsp:sp modelId="{9383F6AE-A2C3-4421-9D23-4B982154F1CC}">
      <dsp:nvSpPr>
        <dsp:cNvPr id="0" name=""/>
        <dsp:cNvSpPr/>
      </dsp:nvSpPr>
      <dsp:spPr>
        <a:xfrm>
          <a:off x="1036811" y="610176"/>
          <a:ext cx="121890" cy="42661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266158"/>
              </a:lnTo>
              <a:lnTo>
                <a:pt x="121890" y="4266158"/>
              </a:lnTo>
            </a:path>
          </a:pathLst>
        </a:custGeom>
        <a:noFill/>
        <a:ln w="25400" cap="flat" cmpd="sng" algn="ctr">
          <a:solidFill>
            <a:schemeClr val="accent3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4932158-8409-41E4-8D29-626905C9E524}">
      <dsp:nvSpPr>
        <dsp:cNvPr id="0" name=""/>
        <dsp:cNvSpPr/>
      </dsp:nvSpPr>
      <dsp:spPr>
        <a:xfrm>
          <a:off x="1158701" y="4571609"/>
          <a:ext cx="975121" cy="60945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145" tIns="11430" rIns="17145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Recommendation systems</a:t>
          </a:r>
          <a:endParaRPr lang="en-US" sz="900" kern="1200" dirty="0"/>
        </a:p>
      </dsp:txBody>
      <dsp:txXfrm>
        <a:off x="1176551" y="4589459"/>
        <a:ext cx="939421" cy="573751"/>
      </dsp:txXfrm>
    </dsp:sp>
    <dsp:sp modelId="{3390D78A-BD75-4634-8176-ABC4B5EEC48F}">
      <dsp:nvSpPr>
        <dsp:cNvPr id="0" name=""/>
        <dsp:cNvSpPr/>
      </dsp:nvSpPr>
      <dsp:spPr>
        <a:xfrm>
          <a:off x="1036811" y="610176"/>
          <a:ext cx="121890" cy="502797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027972"/>
              </a:lnTo>
              <a:lnTo>
                <a:pt x="121890" y="5027972"/>
              </a:lnTo>
            </a:path>
          </a:pathLst>
        </a:custGeom>
        <a:noFill/>
        <a:ln w="25400" cap="flat" cmpd="sng" algn="ctr">
          <a:solidFill>
            <a:schemeClr val="accent3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86775B4-461B-4FA0-9E28-B3F4C7601360}">
      <dsp:nvSpPr>
        <dsp:cNvPr id="0" name=""/>
        <dsp:cNvSpPr/>
      </dsp:nvSpPr>
      <dsp:spPr>
        <a:xfrm>
          <a:off x="1158701" y="5333423"/>
          <a:ext cx="975121" cy="60945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145" tIns="11430" rIns="17145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Social Networks</a:t>
          </a:r>
          <a:endParaRPr lang="en-US" sz="900" kern="1200" dirty="0"/>
        </a:p>
      </dsp:txBody>
      <dsp:txXfrm>
        <a:off x="1176551" y="5351273"/>
        <a:ext cx="939421" cy="573751"/>
      </dsp:txXfrm>
    </dsp:sp>
    <dsp:sp modelId="{8050E6DC-DE09-4969-A672-76CD2A400924}">
      <dsp:nvSpPr>
        <dsp:cNvPr id="0" name=""/>
        <dsp:cNvSpPr/>
      </dsp:nvSpPr>
      <dsp:spPr>
        <a:xfrm>
          <a:off x="2438548" y="725"/>
          <a:ext cx="1218902" cy="609451"/>
        </a:xfrm>
        <a:prstGeom prst="roundRect">
          <a:avLst>
            <a:gd name="adj" fmla="val 10000"/>
          </a:avLst>
        </a:prstGeom>
        <a:solidFill>
          <a:srgbClr val="008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Actions</a:t>
          </a:r>
          <a:endParaRPr lang="en-US" sz="1600" kern="1200" dirty="0"/>
        </a:p>
      </dsp:txBody>
      <dsp:txXfrm>
        <a:off x="2456398" y="18575"/>
        <a:ext cx="1183202" cy="573751"/>
      </dsp:txXfrm>
    </dsp:sp>
    <dsp:sp modelId="{203A84D0-B14A-413D-8819-C5B156AA3617}">
      <dsp:nvSpPr>
        <dsp:cNvPr id="0" name=""/>
        <dsp:cNvSpPr/>
      </dsp:nvSpPr>
      <dsp:spPr>
        <a:xfrm>
          <a:off x="2560439" y="610176"/>
          <a:ext cx="121890" cy="45708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57088"/>
              </a:lnTo>
              <a:lnTo>
                <a:pt x="121890" y="457088"/>
              </a:lnTo>
            </a:path>
          </a:pathLst>
        </a:custGeom>
        <a:noFill/>
        <a:ln w="25400" cap="flat" cmpd="sng" algn="ctr">
          <a:solidFill>
            <a:srgbClr val="00800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995B9E0-ED98-40D1-8348-F7AC13674CAE}">
      <dsp:nvSpPr>
        <dsp:cNvPr id="0" name=""/>
        <dsp:cNvSpPr/>
      </dsp:nvSpPr>
      <dsp:spPr>
        <a:xfrm>
          <a:off x="2682329" y="762539"/>
          <a:ext cx="975121" cy="60945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8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145" tIns="11430" rIns="17145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Acquire Data</a:t>
          </a:r>
          <a:endParaRPr lang="en-US" sz="900" kern="1200" dirty="0"/>
        </a:p>
      </dsp:txBody>
      <dsp:txXfrm>
        <a:off x="2700179" y="780389"/>
        <a:ext cx="939421" cy="573751"/>
      </dsp:txXfrm>
    </dsp:sp>
    <dsp:sp modelId="{2F7C02D6-3991-4932-9AF5-B6A03B9D8F6B}">
      <dsp:nvSpPr>
        <dsp:cNvPr id="0" name=""/>
        <dsp:cNvSpPr/>
      </dsp:nvSpPr>
      <dsp:spPr>
        <a:xfrm>
          <a:off x="2560439" y="610176"/>
          <a:ext cx="121890" cy="12189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18902"/>
              </a:lnTo>
              <a:lnTo>
                <a:pt x="121890" y="1218902"/>
              </a:lnTo>
            </a:path>
          </a:pathLst>
        </a:custGeom>
        <a:noFill/>
        <a:ln w="25400" cap="flat" cmpd="sng" algn="ctr">
          <a:solidFill>
            <a:srgbClr val="00800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05EAB6-89C3-4795-9E71-0D8F262610F1}">
      <dsp:nvSpPr>
        <dsp:cNvPr id="0" name=""/>
        <dsp:cNvSpPr/>
      </dsp:nvSpPr>
      <dsp:spPr>
        <a:xfrm>
          <a:off x="2682329" y="1524353"/>
          <a:ext cx="975121" cy="60945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8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145" tIns="11430" rIns="17145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Prepare</a:t>
          </a:r>
          <a:endParaRPr lang="en-US" sz="900" kern="1200" dirty="0"/>
        </a:p>
      </dsp:txBody>
      <dsp:txXfrm>
        <a:off x="2700179" y="1542203"/>
        <a:ext cx="939421" cy="573751"/>
      </dsp:txXfrm>
    </dsp:sp>
    <dsp:sp modelId="{F2719BA2-EDBB-47B0-912A-D1417D74B346}">
      <dsp:nvSpPr>
        <dsp:cNvPr id="0" name=""/>
        <dsp:cNvSpPr/>
      </dsp:nvSpPr>
      <dsp:spPr>
        <a:xfrm>
          <a:off x="2560439" y="610176"/>
          <a:ext cx="121890" cy="198071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80716"/>
              </a:lnTo>
              <a:lnTo>
                <a:pt x="121890" y="1980716"/>
              </a:lnTo>
            </a:path>
          </a:pathLst>
        </a:custGeom>
        <a:noFill/>
        <a:ln w="25400" cap="flat" cmpd="sng" algn="ctr">
          <a:solidFill>
            <a:srgbClr val="00800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EECA429-6CC9-4A40-8B87-C3D2F1649A0C}">
      <dsp:nvSpPr>
        <dsp:cNvPr id="0" name=""/>
        <dsp:cNvSpPr/>
      </dsp:nvSpPr>
      <dsp:spPr>
        <a:xfrm>
          <a:off x="2682329" y="2286167"/>
          <a:ext cx="975121" cy="60945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8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145" tIns="11430" rIns="17145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Classify</a:t>
          </a:r>
          <a:endParaRPr lang="en-US" sz="900" kern="1200" dirty="0"/>
        </a:p>
      </dsp:txBody>
      <dsp:txXfrm>
        <a:off x="2700179" y="2304017"/>
        <a:ext cx="939421" cy="573751"/>
      </dsp:txXfrm>
    </dsp:sp>
    <dsp:sp modelId="{143BA537-EACE-4CA9-9186-3E47F3700BDF}">
      <dsp:nvSpPr>
        <dsp:cNvPr id="0" name=""/>
        <dsp:cNvSpPr/>
      </dsp:nvSpPr>
      <dsp:spPr>
        <a:xfrm>
          <a:off x="2560439" y="610176"/>
          <a:ext cx="121890" cy="274253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42530"/>
              </a:lnTo>
              <a:lnTo>
                <a:pt x="121890" y="2742530"/>
              </a:lnTo>
            </a:path>
          </a:pathLst>
        </a:custGeom>
        <a:noFill/>
        <a:ln w="25400" cap="flat" cmpd="sng" algn="ctr">
          <a:solidFill>
            <a:srgbClr val="00800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E87ECE6-5E37-44F9-A6FC-0CD90F6E9667}">
      <dsp:nvSpPr>
        <dsp:cNvPr id="0" name=""/>
        <dsp:cNvSpPr/>
      </dsp:nvSpPr>
      <dsp:spPr>
        <a:xfrm>
          <a:off x="2682329" y="3047981"/>
          <a:ext cx="975121" cy="60945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8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145" tIns="11430" rIns="17145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Predict</a:t>
          </a:r>
          <a:endParaRPr lang="en-US" sz="900" kern="1200" dirty="0"/>
        </a:p>
      </dsp:txBody>
      <dsp:txXfrm>
        <a:off x="2700179" y="3065831"/>
        <a:ext cx="939421" cy="573751"/>
      </dsp:txXfrm>
    </dsp:sp>
    <dsp:sp modelId="{85D26A88-B113-43B0-95FE-B30DB10D056B}">
      <dsp:nvSpPr>
        <dsp:cNvPr id="0" name=""/>
        <dsp:cNvSpPr/>
      </dsp:nvSpPr>
      <dsp:spPr>
        <a:xfrm>
          <a:off x="2560439" y="610176"/>
          <a:ext cx="121890" cy="350434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504344"/>
              </a:lnTo>
              <a:lnTo>
                <a:pt x="121890" y="3504344"/>
              </a:lnTo>
            </a:path>
          </a:pathLst>
        </a:custGeom>
        <a:noFill/>
        <a:ln w="25400" cap="flat" cmpd="sng" algn="ctr">
          <a:solidFill>
            <a:srgbClr val="00800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9B087AA-C59B-4677-AEE6-686F8F0ED446}">
      <dsp:nvSpPr>
        <dsp:cNvPr id="0" name=""/>
        <dsp:cNvSpPr/>
      </dsp:nvSpPr>
      <dsp:spPr>
        <a:xfrm>
          <a:off x="2682329" y="3809795"/>
          <a:ext cx="975121" cy="60945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8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145" tIns="11430" rIns="17145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Visualize</a:t>
          </a:r>
          <a:endParaRPr lang="en-US" sz="900" kern="1200" dirty="0"/>
        </a:p>
      </dsp:txBody>
      <dsp:txXfrm>
        <a:off x="2700179" y="3827645"/>
        <a:ext cx="939421" cy="573751"/>
      </dsp:txXfrm>
    </dsp:sp>
    <dsp:sp modelId="{18DD10DA-7BB1-4093-8085-874745FA8AF8}">
      <dsp:nvSpPr>
        <dsp:cNvPr id="0" name=""/>
        <dsp:cNvSpPr/>
      </dsp:nvSpPr>
      <dsp:spPr>
        <a:xfrm>
          <a:off x="2560439" y="610176"/>
          <a:ext cx="121890" cy="42661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266158"/>
              </a:lnTo>
              <a:lnTo>
                <a:pt x="121890" y="4266158"/>
              </a:lnTo>
            </a:path>
          </a:pathLst>
        </a:custGeom>
        <a:noFill/>
        <a:ln w="25400" cap="flat" cmpd="sng" algn="ctr">
          <a:solidFill>
            <a:srgbClr val="00800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C724BFD-7B60-4545-AF98-1BD2EB009BD2}">
      <dsp:nvSpPr>
        <dsp:cNvPr id="0" name=""/>
        <dsp:cNvSpPr/>
      </dsp:nvSpPr>
      <dsp:spPr>
        <a:xfrm>
          <a:off x="2682329" y="4571609"/>
          <a:ext cx="975121" cy="60945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8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145" tIns="11430" rIns="17145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Optimize</a:t>
          </a:r>
          <a:endParaRPr lang="en-US" sz="900" kern="1200" dirty="0"/>
        </a:p>
      </dsp:txBody>
      <dsp:txXfrm>
        <a:off x="2700179" y="4589459"/>
        <a:ext cx="939421" cy="573751"/>
      </dsp:txXfrm>
    </dsp:sp>
    <dsp:sp modelId="{DBCA59E7-0C94-4E52-B1C9-7CD4A9A207AE}">
      <dsp:nvSpPr>
        <dsp:cNvPr id="0" name=""/>
        <dsp:cNvSpPr/>
      </dsp:nvSpPr>
      <dsp:spPr>
        <a:xfrm>
          <a:off x="2560439" y="610176"/>
          <a:ext cx="121890" cy="502797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027972"/>
              </a:lnTo>
              <a:lnTo>
                <a:pt x="121890" y="5027972"/>
              </a:lnTo>
            </a:path>
          </a:pathLst>
        </a:custGeom>
        <a:noFill/>
        <a:ln w="25400" cap="flat" cmpd="sng" algn="ctr">
          <a:solidFill>
            <a:srgbClr val="00800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EF6C3B1-69FB-4CA2-BE81-E7ACDFE82F43}">
      <dsp:nvSpPr>
        <dsp:cNvPr id="0" name=""/>
        <dsp:cNvSpPr/>
      </dsp:nvSpPr>
      <dsp:spPr>
        <a:xfrm>
          <a:off x="2682329" y="5333423"/>
          <a:ext cx="975121" cy="60945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8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145" tIns="11430" rIns="17145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Interpret</a:t>
          </a:r>
          <a:endParaRPr lang="en-US" sz="900" kern="1200" dirty="0"/>
        </a:p>
      </dsp:txBody>
      <dsp:txXfrm>
        <a:off x="2700179" y="5351273"/>
        <a:ext cx="939421" cy="573751"/>
      </dsp:txXfrm>
    </dsp:sp>
    <dsp:sp modelId="{550C7D56-CB20-4589-B873-4DC8D6706F8E}">
      <dsp:nvSpPr>
        <dsp:cNvPr id="0" name=""/>
        <dsp:cNvSpPr/>
      </dsp:nvSpPr>
      <dsp:spPr>
        <a:xfrm>
          <a:off x="3962176" y="725"/>
          <a:ext cx="1218902" cy="60945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Algorithms</a:t>
          </a:r>
          <a:endParaRPr lang="en-US" sz="1600" kern="1200" dirty="0"/>
        </a:p>
      </dsp:txBody>
      <dsp:txXfrm>
        <a:off x="3980026" y="18575"/>
        <a:ext cx="1183202" cy="573751"/>
      </dsp:txXfrm>
    </dsp:sp>
    <dsp:sp modelId="{2CA151B7-1CE3-41C0-A5A4-2D231E793ABA}">
      <dsp:nvSpPr>
        <dsp:cNvPr id="0" name=""/>
        <dsp:cNvSpPr/>
      </dsp:nvSpPr>
      <dsp:spPr>
        <a:xfrm>
          <a:off x="4084066" y="610176"/>
          <a:ext cx="121890" cy="45708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57088"/>
              </a:lnTo>
              <a:lnTo>
                <a:pt x="121890" y="45708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E6C0099-34EF-48EF-A905-CFB4E24233C8}">
      <dsp:nvSpPr>
        <dsp:cNvPr id="0" name=""/>
        <dsp:cNvSpPr/>
      </dsp:nvSpPr>
      <dsp:spPr>
        <a:xfrm>
          <a:off x="4205957" y="762539"/>
          <a:ext cx="975121" cy="60945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145" tIns="11430" rIns="17145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CART</a:t>
          </a:r>
          <a:endParaRPr lang="en-US" sz="900" kern="1200" dirty="0"/>
        </a:p>
      </dsp:txBody>
      <dsp:txXfrm>
        <a:off x="4223807" y="780389"/>
        <a:ext cx="939421" cy="573751"/>
      </dsp:txXfrm>
    </dsp:sp>
    <dsp:sp modelId="{07ED3ACA-A86B-4F19-89A6-45ED0FDFB635}">
      <dsp:nvSpPr>
        <dsp:cNvPr id="0" name=""/>
        <dsp:cNvSpPr/>
      </dsp:nvSpPr>
      <dsp:spPr>
        <a:xfrm>
          <a:off x="4084066" y="610176"/>
          <a:ext cx="121890" cy="12189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18902"/>
              </a:lnTo>
              <a:lnTo>
                <a:pt x="121890" y="121890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99B76DA-A860-4491-88D5-00644994CAD7}">
      <dsp:nvSpPr>
        <dsp:cNvPr id="0" name=""/>
        <dsp:cNvSpPr/>
      </dsp:nvSpPr>
      <dsp:spPr>
        <a:xfrm>
          <a:off x="4205957" y="1524353"/>
          <a:ext cx="975121" cy="60945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145" tIns="11430" rIns="17145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Random Forests</a:t>
          </a:r>
          <a:endParaRPr lang="en-US" sz="900" kern="1200" dirty="0"/>
        </a:p>
      </dsp:txBody>
      <dsp:txXfrm>
        <a:off x="4223807" y="1542203"/>
        <a:ext cx="939421" cy="573751"/>
      </dsp:txXfrm>
    </dsp:sp>
    <dsp:sp modelId="{EEA13E81-7540-4ADC-B24D-13EF92724A51}">
      <dsp:nvSpPr>
        <dsp:cNvPr id="0" name=""/>
        <dsp:cNvSpPr/>
      </dsp:nvSpPr>
      <dsp:spPr>
        <a:xfrm>
          <a:off x="4084066" y="610176"/>
          <a:ext cx="121890" cy="198071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80716"/>
              </a:lnTo>
              <a:lnTo>
                <a:pt x="121890" y="1980716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6BC35F0-ACDC-4689-A93D-2AC86B4AA80A}">
      <dsp:nvSpPr>
        <dsp:cNvPr id="0" name=""/>
        <dsp:cNvSpPr/>
      </dsp:nvSpPr>
      <dsp:spPr>
        <a:xfrm>
          <a:off x="4205957" y="2286167"/>
          <a:ext cx="975121" cy="60945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145" tIns="11430" rIns="17145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SVM</a:t>
          </a:r>
          <a:endParaRPr lang="en-US" sz="900" kern="1200" dirty="0"/>
        </a:p>
      </dsp:txBody>
      <dsp:txXfrm>
        <a:off x="4223807" y="2304017"/>
        <a:ext cx="939421" cy="573751"/>
      </dsp:txXfrm>
    </dsp:sp>
    <dsp:sp modelId="{0DBFF0FF-12B8-4239-9453-33B057A4CAF6}">
      <dsp:nvSpPr>
        <dsp:cNvPr id="0" name=""/>
        <dsp:cNvSpPr/>
      </dsp:nvSpPr>
      <dsp:spPr>
        <a:xfrm>
          <a:off x="4084066" y="610176"/>
          <a:ext cx="121890" cy="274253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42530"/>
              </a:lnTo>
              <a:lnTo>
                <a:pt x="121890" y="274253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54F00D4-E237-4A7B-8660-9DFAE42DA40E}">
      <dsp:nvSpPr>
        <dsp:cNvPr id="0" name=""/>
        <dsp:cNvSpPr/>
      </dsp:nvSpPr>
      <dsp:spPr>
        <a:xfrm>
          <a:off x="4205957" y="3047981"/>
          <a:ext cx="975121" cy="60945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145" tIns="11430" rIns="17145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err="1" smtClean="0"/>
            <a:t>KMeans</a:t>
          </a:r>
          <a:endParaRPr lang="en-US" sz="900" kern="1200" dirty="0"/>
        </a:p>
      </dsp:txBody>
      <dsp:txXfrm>
        <a:off x="4223807" y="3065831"/>
        <a:ext cx="939421" cy="573751"/>
      </dsp:txXfrm>
    </dsp:sp>
    <dsp:sp modelId="{0DB4BC34-066A-474D-A407-44E482643F41}">
      <dsp:nvSpPr>
        <dsp:cNvPr id="0" name=""/>
        <dsp:cNvSpPr/>
      </dsp:nvSpPr>
      <dsp:spPr>
        <a:xfrm>
          <a:off x="4084066" y="610176"/>
          <a:ext cx="121890" cy="350434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504344"/>
              </a:lnTo>
              <a:lnTo>
                <a:pt x="121890" y="3504344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96201D4-2428-4B4D-85CF-F9C4795F13F9}">
      <dsp:nvSpPr>
        <dsp:cNvPr id="0" name=""/>
        <dsp:cNvSpPr/>
      </dsp:nvSpPr>
      <dsp:spPr>
        <a:xfrm>
          <a:off x="4205957" y="3809795"/>
          <a:ext cx="975121" cy="60945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145" tIns="11430" rIns="17145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Hierarchical clustering</a:t>
          </a:r>
          <a:endParaRPr lang="en-US" sz="900" kern="1200" dirty="0"/>
        </a:p>
      </dsp:txBody>
      <dsp:txXfrm>
        <a:off x="4223807" y="3827645"/>
        <a:ext cx="939421" cy="573751"/>
      </dsp:txXfrm>
    </dsp:sp>
    <dsp:sp modelId="{C0F8714C-C4D2-47EC-B560-847CB893546A}">
      <dsp:nvSpPr>
        <dsp:cNvPr id="0" name=""/>
        <dsp:cNvSpPr/>
      </dsp:nvSpPr>
      <dsp:spPr>
        <a:xfrm>
          <a:off x="4084066" y="610176"/>
          <a:ext cx="121890" cy="42661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266158"/>
              </a:lnTo>
              <a:lnTo>
                <a:pt x="121890" y="426615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760473D-E2BE-44D8-BFEA-A0A81ADAC655}">
      <dsp:nvSpPr>
        <dsp:cNvPr id="0" name=""/>
        <dsp:cNvSpPr/>
      </dsp:nvSpPr>
      <dsp:spPr>
        <a:xfrm>
          <a:off x="4205957" y="4571609"/>
          <a:ext cx="975121" cy="60945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145" tIns="11430" rIns="17145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Ensemble Techniques</a:t>
          </a:r>
          <a:endParaRPr lang="en-US" sz="900" kern="1200" dirty="0"/>
        </a:p>
      </dsp:txBody>
      <dsp:txXfrm>
        <a:off x="4223807" y="4589459"/>
        <a:ext cx="939421" cy="57375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emf"/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7F51EA5-E875-4449-A145-1BB3EEB8B234}" type="datetimeFigureOut">
              <a:rPr lang="en-US" smtClean="0"/>
              <a:t>2/21/201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6F56B66-9EA8-4670-B52A-9B19447DB2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14460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753" tIns="46877" rIns="93753" bIns="46877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753" tIns="46877" rIns="93753" bIns="46877" rtlCol="0"/>
          <a:lstStyle>
            <a:lvl1pPr algn="r">
              <a:defRPr sz="1200"/>
            </a:lvl1pPr>
          </a:lstStyle>
          <a:p>
            <a:fld id="{7595C2E1-C276-412F-BE45-DFF050327D06}" type="datetimeFigureOut">
              <a:rPr lang="en-US" smtClean="0"/>
              <a:pPr/>
              <a:t>2/21/201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753" tIns="46877" rIns="93753" bIns="46877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753" tIns="46877" rIns="93753" bIns="46877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753" tIns="46877" rIns="93753" bIns="46877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753" tIns="46877" rIns="93753" bIns="46877" rtlCol="0" anchor="b"/>
          <a:lstStyle>
            <a:lvl1pPr algn="r">
              <a:defRPr sz="1200"/>
            </a:lvl1pPr>
          </a:lstStyle>
          <a:p>
            <a:fld id="{20DF1CE6-E710-41D3-BB42-BF04E936178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95705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In his book Software for Data Analysis, Programming with R (Springer 2008) John Chambers acknowledges the contributions of Rick Becker, Allan </a:t>
            </a:r>
            <a:r>
              <a:rPr lang="en-US" dirty="0" err="1" smtClean="0"/>
              <a:t>Wilks</a:t>
            </a:r>
            <a:r>
              <a:rPr lang="en-US" dirty="0" smtClean="0"/>
              <a:t>. Trevor Hastie, Daryl </a:t>
            </a:r>
            <a:r>
              <a:rPr lang="en-US" dirty="0" err="1" smtClean="0"/>
              <a:t>Pregibon</a:t>
            </a:r>
            <a:r>
              <a:rPr lang="en-US" dirty="0" smtClean="0"/>
              <a:t>, Diane</a:t>
            </a:r>
            <a:r>
              <a:rPr lang="en-US" baseline="0" dirty="0" smtClean="0"/>
              <a:t> Lambert, W.S. Cleveland and others from the Bell Labs era of S development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DF1CE6-E710-41D3-BB42-BF04E936178A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7655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hat</a:t>
            </a:r>
            <a:r>
              <a:rPr lang="en-US" baseline="0" dirty="0" smtClean="0"/>
              <a:t> needs to be in this section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baseline="0" dirty="0" smtClean="0"/>
              <a:t>Overview of data mining: a high level discussion, kinds of problems, some example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baseline="0" dirty="0" smtClean="0"/>
              <a:t>Brief discussion of what we mean by data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baseline="0" dirty="0" smtClean="0"/>
              <a:t>Some explanation of theory: models, validation, model assessment, prediction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baseline="0" dirty="0" smtClean="0"/>
              <a:t>Some discussion of the grunt work: data acquisition and cleaning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baseline="0" dirty="0" smtClean="0"/>
              <a:t>Some simple examples of algorithms, </a:t>
            </a:r>
            <a:r>
              <a:rPr lang="en-US" baseline="0" dirty="0" err="1" smtClean="0"/>
              <a:t>kmeans</a:t>
            </a:r>
            <a:r>
              <a:rPr lang="en-US" baseline="0" dirty="0" smtClean="0"/>
              <a:t>, trees, </a:t>
            </a:r>
            <a:r>
              <a:rPr lang="en-US" baseline="0" dirty="0" err="1" smtClean="0"/>
              <a:t>sv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tc</a:t>
            </a:r>
            <a:endParaRPr lang="en-US" baseline="0" dirty="0" smtClean="0"/>
          </a:p>
          <a:p>
            <a:pPr marL="628650" lvl="1" indent="-171450">
              <a:buFont typeface="Arial" pitchFamily="34" charset="0"/>
              <a:buChar char="•"/>
            </a:pPr>
            <a:r>
              <a:rPr lang="en-US" baseline="0" dirty="0" smtClean="0"/>
              <a:t>First run through some simple r code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en-US" baseline="0" dirty="0" smtClean="0"/>
              <a:t>Show rattl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baseline="0" dirty="0" smtClean="0"/>
              <a:t>Talk about ensemble technique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baseline="0" dirty="0" smtClean="0"/>
              <a:t>Extended example with a moderate size data set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baseline="0" dirty="0" smtClean="0"/>
              <a:t>Show lift curve or confusion tabl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baseline="0" dirty="0" smtClean="0"/>
              <a:t>PMML example of implementing algorithm in a production setting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DF1CE6-E710-41D3-BB42-BF04E936178A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89531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hat needs to</a:t>
            </a:r>
            <a:r>
              <a:rPr lang="en-US" baseline="0" dirty="0" smtClean="0"/>
              <a:t> be in this section</a:t>
            </a:r>
          </a:p>
          <a:p>
            <a:r>
              <a:rPr lang="en-US" baseline="0" dirty="0" smtClean="0"/>
              <a:t>Some discussion of the memory limitations of R</a:t>
            </a:r>
          </a:p>
          <a:p>
            <a:r>
              <a:rPr lang="en-US" baseline="0" dirty="0" smtClean="0"/>
              <a:t>Discussion of challenges of big data and big models</a:t>
            </a:r>
          </a:p>
          <a:p>
            <a:r>
              <a:rPr lang="en-US" baseline="0" dirty="0" smtClean="0"/>
              <a:t>Introduce RevoScaleR</a:t>
            </a:r>
          </a:p>
          <a:p>
            <a:r>
              <a:rPr lang="en-US" baseline="0" dirty="0" smtClean="0"/>
              <a:t>Position RevoScaleR above small data below huge data</a:t>
            </a:r>
          </a:p>
          <a:p>
            <a:r>
              <a:rPr lang="en-US" baseline="0" dirty="0" smtClean="0"/>
              <a:t>Show data step</a:t>
            </a:r>
          </a:p>
          <a:p>
            <a:r>
              <a:rPr lang="en-US" baseline="0" dirty="0" smtClean="0"/>
              <a:t>Show logistic regression on large data step</a:t>
            </a:r>
          </a:p>
          <a:p>
            <a:r>
              <a:rPr lang="en-US" baseline="0" dirty="0" smtClean="0"/>
              <a:t>Introduce </a:t>
            </a:r>
            <a:r>
              <a:rPr lang="en-US" baseline="0" dirty="0" err="1" smtClean="0"/>
              <a:t>Hadoop</a:t>
            </a:r>
            <a:endParaRPr lang="en-US" baseline="0" dirty="0" smtClean="0"/>
          </a:p>
          <a:p>
            <a:r>
              <a:rPr lang="en-US" baseline="0" dirty="0" smtClean="0"/>
              <a:t>Present some of data mining camp theory on map reduce</a:t>
            </a:r>
          </a:p>
          <a:p>
            <a:r>
              <a:rPr lang="en-US" baseline="0" dirty="0" smtClean="0"/>
              <a:t>Show syntax of </a:t>
            </a:r>
            <a:r>
              <a:rPr lang="en-US" baseline="0" dirty="0" err="1" smtClean="0"/>
              <a:t>Revo’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mr</a:t>
            </a:r>
            <a:r>
              <a:rPr lang="en-US" baseline="0" dirty="0" smtClean="0"/>
              <a:t> packag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DF1CE6-E710-41D3-BB42-BF04E936178A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25789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3566633" y="927761"/>
            <a:ext cx="5577367" cy="5930239"/>
          </a:xfrm>
          <a:prstGeom prst="rect">
            <a:avLst/>
          </a:prstGeom>
          <a:solidFill>
            <a:srgbClr val="3A497A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Picture 7" descr="REVO_home_0447 copy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>
          <a:xfrm>
            <a:off x="3566633" y="0"/>
            <a:ext cx="5577367" cy="927761"/>
          </a:xfrm>
          <a:prstGeom prst="rect">
            <a:avLst/>
          </a:prstGeom>
          <a:ln>
            <a:noFill/>
          </a:ln>
          <a:effectLst>
            <a:outerShdw blurRad="50800" dist="38100" dir="2700000">
              <a:srgbClr val="000000">
                <a:alpha val="43000"/>
              </a:srgbClr>
            </a:outerShdw>
          </a:effectLst>
        </p:spPr>
      </p:pic>
      <p:pic>
        <p:nvPicPr>
          <p:cNvPr id="9" name="Picture 8" descr="RA_logo_fin_300dpi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80134" y="1080887"/>
            <a:ext cx="3062260" cy="62069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180133" y="6201593"/>
            <a:ext cx="1846363" cy="62488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3757613" y="1268413"/>
            <a:ext cx="5159375" cy="1276313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kumimoji="0" lang="en-US" sz="3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/>
                <a:ea typeface="+mj-ea"/>
                <a:cs typeface="Arial Bold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3754077" y="2576158"/>
            <a:ext cx="5159375" cy="989294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kumimoji="0" lang="en-US" sz="24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/>
                <a:ea typeface="+mj-ea"/>
                <a:cs typeface="Arial Bold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3757629" y="4337534"/>
            <a:ext cx="5159375" cy="532178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/>
                <a:ea typeface="+mj-ea"/>
                <a:cs typeface="Arial Bold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3754093" y="4950654"/>
            <a:ext cx="5159375" cy="532178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/>
                <a:ea typeface="+mj-ea"/>
                <a:cs typeface="Arial Bold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edit Master text styles</a:t>
            </a:r>
          </a:p>
        </p:txBody>
      </p:sp>
      <p:pic>
        <p:nvPicPr>
          <p:cNvPr id="17" name="Picture 16" descr="enhanced_barplot.png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 amt="28000"/>
            <a:biLevel thresh="50000"/>
          </a:blip>
          <a:srcRect/>
          <a:stretch>
            <a:fillRect/>
          </a:stretch>
        </p:blipFill>
        <p:spPr>
          <a:xfrm>
            <a:off x="-150801" y="3920548"/>
            <a:ext cx="3805403" cy="2176766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3566633" y="6372447"/>
            <a:ext cx="557736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 smtClean="0">
                <a:solidFill>
                  <a:schemeClr val="bg1"/>
                </a:solidFill>
              </a:rPr>
              <a:t>Revolution</a:t>
            </a:r>
            <a:r>
              <a:rPr lang="en-US" sz="1100" baseline="0" dirty="0" smtClean="0">
                <a:solidFill>
                  <a:schemeClr val="bg1"/>
                </a:solidFill>
              </a:rPr>
              <a:t> Confidential</a:t>
            </a:r>
            <a:endParaRPr lang="en-US" sz="11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ED09C-D822-BC43-B619-750E10150D69}" type="datetimeFigureOut">
              <a:rPr lang="en-US" smtClean="0"/>
              <a:pPr/>
              <a:t>2/21/201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60A39-4AFD-43E9-A649-069B6F615F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258709" cy="133923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bg1"/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buFont typeface="Wingdings" pitchFamily="2" charset="2"/>
              <a:buChar char="§"/>
              <a:defRPr sz="3200"/>
            </a:lvl1pPr>
            <a:lvl2pPr>
              <a:buFont typeface="Wingdings" pitchFamily="2" charset="2"/>
              <a:buChar char="§"/>
              <a:defRPr sz="2800"/>
            </a:lvl2pPr>
            <a:lvl3pPr>
              <a:buFont typeface="Wingdings" pitchFamily="2" charset="2"/>
              <a:buChar char="§"/>
              <a:defRPr sz="2400"/>
            </a:lvl3pPr>
            <a:lvl4pPr>
              <a:buFont typeface="Wingdings" pitchFamily="2" charset="2"/>
              <a:buChar char="§"/>
              <a:defRPr sz="2000"/>
            </a:lvl4pPr>
            <a:lvl5pPr>
              <a:buFont typeface="Wingdings" pitchFamily="2" charset="2"/>
              <a:buChar char="§"/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ED09C-D822-BC43-B619-750E10150D69}" type="datetimeFigureOut">
              <a:rPr lang="en-US" smtClean="0"/>
              <a:pPr/>
              <a:t>2/21/201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60A39-4AFD-43E9-A649-069B6F615F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258709" cy="133923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bg1"/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ED09C-D822-BC43-B619-750E10150D69}" type="datetimeFigureOut">
              <a:rPr lang="en-US" smtClean="0"/>
              <a:pPr/>
              <a:t>2/21/201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60A39-4AFD-43E9-A649-069B6F615F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258709" cy="133923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bg1"/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0" y="0"/>
            <a:ext cx="9144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chemeClr val="bg1">
                    <a:lumMod val="75000"/>
                  </a:schemeClr>
                </a:solidFill>
              </a:rPr>
              <a:t>Revolution</a:t>
            </a:r>
            <a:r>
              <a:rPr lang="en-US" sz="1000" baseline="0" dirty="0" smtClean="0">
                <a:solidFill>
                  <a:schemeClr val="bg1">
                    <a:lumMod val="75000"/>
                  </a:schemeClr>
                </a:solidFill>
              </a:rPr>
              <a:t> Confidential</a:t>
            </a:r>
            <a:endParaRPr lang="en-US" sz="1000" dirty="0">
              <a:solidFill>
                <a:schemeClr val="bg1">
                  <a:lumMod val="75000"/>
                </a:schemeClr>
              </a:solidFill>
            </a:endParaRPr>
          </a:p>
        </p:txBody>
      </p:sp>
    </p:spTree>
  </p:cSld>
  <p:clrMapOvr>
    <a:masterClrMapping/>
  </p:clrMapOvr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buFont typeface="Wingdings" pitchFamily="2" charset="2"/>
              <a:buChar char="§"/>
              <a:defRPr/>
            </a:lvl1pPr>
            <a:lvl2pPr>
              <a:buFont typeface="Wingdings" pitchFamily="2" charset="2"/>
              <a:buChar char="§"/>
              <a:defRPr/>
            </a:lvl2pPr>
            <a:lvl3pPr>
              <a:buFont typeface="Wingdings" pitchFamily="2" charset="2"/>
              <a:buChar char="§"/>
              <a:defRPr/>
            </a:lvl3pPr>
            <a:lvl4pPr>
              <a:buFont typeface="Wingdings" pitchFamily="2" charset="2"/>
              <a:buChar char="§"/>
              <a:defRPr/>
            </a:lvl4pPr>
            <a:lvl5pPr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ED09C-D822-BC43-B619-750E10150D69}" type="datetimeFigureOut">
              <a:rPr lang="en-US" smtClean="0"/>
              <a:pPr/>
              <a:t>2/21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60A39-4AFD-43E9-A649-069B6F615F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258709" cy="133923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bg1"/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>
            <a:lvl1pPr>
              <a:buFont typeface="Wingdings" pitchFamily="2" charset="2"/>
              <a:buChar char="§"/>
              <a:defRPr/>
            </a:lvl1pPr>
            <a:lvl2pPr>
              <a:buFont typeface="Wingdings" pitchFamily="2" charset="2"/>
              <a:buChar char="§"/>
              <a:defRPr/>
            </a:lvl2pPr>
            <a:lvl3pPr>
              <a:buFont typeface="Wingdings" pitchFamily="2" charset="2"/>
              <a:buChar char="§"/>
              <a:defRPr/>
            </a:lvl3pPr>
            <a:lvl4pPr>
              <a:buFont typeface="Wingdings" pitchFamily="2" charset="2"/>
              <a:buChar char="§"/>
              <a:defRPr/>
            </a:lvl4pPr>
            <a:lvl5pPr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ED09C-D822-BC43-B619-750E10150D69}" type="datetimeFigureOut">
              <a:rPr lang="en-US" smtClean="0"/>
              <a:pPr/>
              <a:t>2/21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60A39-4AFD-43E9-A649-069B6F615F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258709" cy="133923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bg1"/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0" y="0"/>
            <a:ext cx="9144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chemeClr val="bg1">
                    <a:lumMod val="75000"/>
                  </a:schemeClr>
                </a:solidFill>
              </a:rPr>
              <a:t>Revolution</a:t>
            </a:r>
            <a:r>
              <a:rPr lang="en-US" sz="1000" baseline="0" dirty="0" smtClean="0">
                <a:solidFill>
                  <a:schemeClr val="bg1">
                    <a:lumMod val="75000"/>
                  </a:schemeClr>
                </a:solidFill>
              </a:rPr>
              <a:t> Confidential</a:t>
            </a:r>
            <a:endParaRPr lang="en-US" sz="1000" dirty="0">
              <a:solidFill>
                <a:schemeClr val="bg1">
                  <a:lumMod val="75000"/>
                </a:schemeClr>
              </a:solidFill>
            </a:endParaRPr>
          </a:p>
        </p:txBody>
      </p:sp>
    </p:spTree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ED09C-D822-BC43-B619-750E10150D69}" type="datetimeFigureOut">
              <a:rPr lang="en-US" smtClean="0"/>
              <a:pPr/>
              <a:t>2/21/201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60A39-4AFD-43E9-A649-069B6F615F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258709" cy="133923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bg1"/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0" y="0"/>
            <a:ext cx="9144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chemeClr val="bg1">
                    <a:lumMod val="75000"/>
                  </a:schemeClr>
                </a:solidFill>
              </a:rPr>
              <a:t>Revolution</a:t>
            </a:r>
            <a:r>
              <a:rPr lang="en-US" sz="1000" baseline="0" dirty="0" smtClean="0">
                <a:solidFill>
                  <a:schemeClr val="bg1">
                    <a:lumMod val="75000"/>
                  </a:schemeClr>
                </a:solidFill>
              </a:rPr>
              <a:t> Confidential</a:t>
            </a:r>
            <a:endParaRPr lang="en-US" sz="1000" dirty="0">
              <a:solidFill>
                <a:schemeClr val="bg1">
                  <a:lumMod val="75000"/>
                </a:schemeClr>
              </a:solidFill>
            </a:endParaRPr>
          </a:p>
        </p:txBody>
      </p:sp>
      <p:pic>
        <p:nvPicPr>
          <p:cNvPr id="8" name="Picture 7" descr="RA_thinR_179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209800" y="2514600"/>
            <a:ext cx="4876800" cy="1121662"/>
          </a:xfrm>
          <a:prstGeom prst="rect">
            <a:avLst/>
          </a:prstGeom>
        </p:spPr>
      </p:pic>
    </p:spTree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Fin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3566633" y="927761"/>
            <a:ext cx="5577367" cy="5930239"/>
          </a:xfrm>
          <a:prstGeom prst="rect">
            <a:avLst/>
          </a:prstGeom>
          <a:solidFill>
            <a:srgbClr val="3A497A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Picture 7" descr="REVO_home_0447 copy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>
          <a:xfrm>
            <a:off x="3566633" y="0"/>
            <a:ext cx="5577367" cy="927761"/>
          </a:xfrm>
          <a:prstGeom prst="rect">
            <a:avLst/>
          </a:prstGeom>
          <a:ln>
            <a:noFill/>
          </a:ln>
          <a:effectLst>
            <a:outerShdw blurRad="50800" dist="38100" dir="2700000">
              <a:srgbClr val="000000">
                <a:alpha val="43000"/>
              </a:srgbClr>
            </a:outerShdw>
          </a:effectLst>
        </p:spPr>
      </p:pic>
      <p:pic>
        <p:nvPicPr>
          <p:cNvPr id="9" name="Picture 8" descr="RA_logo_fin_300dpi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80134" y="1080887"/>
            <a:ext cx="3062260" cy="62069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180133" y="6201593"/>
            <a:ext cx="1846363" cy="62488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3757613" y="1268413"/>
            <a:ext cx="5159375" cy="1276313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kumimoji="0" lang="en-US" sz="3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/>
                <a:ea typeface="+mj-ea"/>
                <a:cs typeface="Arial Bold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3754077" y="2576158"/>
            <a:ext cx="5159375" cy="989294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kumimoji="0" lang="en-US" sz="24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/>
                <a:ea typeface="+mj-ea"/>
                <a:cs typeface="Arial Bold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3757629" y="4337534"/>
            <a:ext cx="5159375" cy="532178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/>
                <a:ea typeface="+mj-ea"/>
                <a:cs typeface="Arial Bold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3754093" y="4950654"/>
            <a:ext cx="5159375" cy="532178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/>
                <a:ea typeface="+mj-ea"/>
                <a:cs typeface="Arial Bold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566633" y="6372447"/>
            <a:ext cx="557736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 smtClean="0">
                <a:solidFill>
                  <a:schemeClr val="bg1"/>
                </a:solidFill>
              </a:rPr>
              <a:t>Revolution</a:t>
            </a:r>
            <a:r>
              <a:rPr lang="en-US" sz="1100" baseline="0" dirty="0" smtClean="0">
                <a:solidFill>
                  <a:schemeClr val="bg1"/>
                </a:solidFill>
              </a:rPr>
              <a:t> Confidential</a:t>
            </a:r>
            <a:endParaRPr lang="en-US" sz="1100" dirty="0">
              <a:solidFill>
                <a:schemeClr val="bg1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alphaModFix amt="43000"/>
          </a:blip>
          <a:srcRect/>
          <a:stretch>
            <a:fillRect/>
          </a:stretch>
        </p:blipFill>
        <p:spPr>
          <a:xfrm>
            <a:off x="0" y="3908756"/>
            <a:ext cx="3566633" cy="2331892"/>
          </a:xfrm>
          <a:prstGeom prst="rect">
            <a:avLst/>
          </a:prstGeom>
        </p:spPr>
      </p:pic>
    </p:spTree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3566633" y="927761"/>
            <a:ext cx="5577367" cy="5930239"/>
          </a:xfrm>
          <a:prstGeom prst="rect">
            <a:avLst/>
          </a:prstGeom>
          <a:solidFill>
            <a:srgbClr val="3A497A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Picture 7" descr="REVO_home_0447 copy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>
          <a:xfrm>
            <a:off x="3566633" y="0"/>
            <a:ext cx="5577367" cy="927761"/>
          </a:xfrm>
          <a:prstGeom prst="rect">
            <a:avLst/>
          </a:prstGeom>
          <a:ln>
            <a:noFill/>
          </a:ln>
          <a:effectLst>
            <a:outerShdw blurRad="50800" dist="38100" dir="2700000">
              <a:srgbClr val="000000">
                <a:alpha val="43000"/>
              </a:srgbClr>
            </a:outerShdw>
          </a:effectLst>
        </p:spPr>
      </p:pic>
      <p:pic>
        <p:nvPicPr>
          <p:cNvPr id="9" name="Picture 8" descr="RA_logo_fin_300dpi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80134" y="1080887"/>
            <a:ext cx="3062260" cy="62069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180133" y="6201593"/>
            <a:ext cx="1846363" cy="62488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3757613" y="1268413"/>
            <a:ext cx="5159375" cy="1276313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kumimoji="0" lang="en-US" sz="3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/>
                <a:ea typeface="+mj-ea"/>
                <a:cs typeface="Arial Bold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3754077" y="2576158"/>
            <a:ext cx="5159375" cy="989294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kumimoji="0" lang="en-US" sz="24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/>
                <a:ea typeface="+mj-ea"/>
                <a:cs typeface="Arial Bold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3757629" y="4337534"/>
            <a:ext cx="5159375" cy="532178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/>
                <a:ea typeface="+mj-ea"/>
                <a:cs typeface="Arial Bold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3754093" y="4950654"/>
            <a:ext cx="5159375" cy="532178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/>
                <a:ea typeface="+mj-ea"/>
                <a:cs typeface="Arial Bold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566633" y="6372447"/>
            <a:ext cx="557736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 smtClean="0">
                <a:solidFill>
                  <a:schemeClr val="bg1"/>
                </a:solidFill>
              </a:rPr>
              <a:t>Revolution</a:t>
            </a:r>
            <a:r>
              <a:rPr lang="en-US" sz="1100" baseline="0" dirty="0" smtClean="0">
                <a:solidFill>
                  <a:schemeClr val="bg1"/>
                </a:solidFill>
              </a:rPr>
              <a:t> Confidential</a:t>
            </a:r>
            <a:endParaRPr lang="en-US" sz="11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ransition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ED09C-D822-BC43-B619-750E10150D69}" type="datetimeFigureOut">
              <a:rPr lang="en-US" smtClean="0"/>
              <a:pPr/>
              <a:t>2/21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60A39-4AFD-43E9-A649-069B6F615F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258709" cy="133923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bg1"/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§"/>
              <a:defRPr/>
            </a:lvl1pPr>
            <a:lvl2pPr>
              <a:buFont typeface="Wingdings" pitchFamily="2" charset="2"/>
              <a:buChar char="§"/>
              <a:defRPr/>
            </a:lvl2pPr>
            <a:lvl3pPr>
              <a:buFont typeface="Wingdings" pitchFamily="2" charset="2"/>
              <a:buChar char="§"/>
              <a:defRPr/>
            </a:lvl3pPr>
            <a:lvl4pPr>
              <a:buFont typeface="Wingdings" pitchFamily="2" charset="2"/>
              <a:buChar char="§"/>
              <a:defRPr/>
            </a:lvl4pPr>
            <a:lvl5pPr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ED09C-D822-BC43-B619-750E10150D69}" type="datetimeFigureOut">
              <a:rPr lang="en-US" smtClean="0"/>
              <a:pPr/>
              <a:t>2/21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60A39-4AFD-43E9-A649-069B6F615F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258709" cy="133923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bg1"/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ED09C-D822-BC43-B619-750E10150D69}" type="datetimeFigureOut">
              <a:rPr lang="en-US" smtClean="0"/>
              <a:pPr/>
              <a:t>2/21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60A39-4AFD-43E9-A649-069B6F615F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258709" cy="133923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bg1"/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buFont typeface="Wingdings" pitchFamily="2" charset="2"/>
              <a:buChar char="§"/>
              <a:defRPr sz="2800"/>
            </a:lvl1pPr>
            <a:lvl2pPr>
              <a:buFont typeface="Wingdings" pitchFamily="2" charset="2"/>
              <a:buChar char="§"/>
              <a:defRPr sz="2400"/>
            </a:lvl2pPr>
            <a:lvl3pPr>
              <a:buFont typeface="Wingdings" pitchFamily="2" charset="2"/>
              <a:buChar char="§"/>
              <a:defRPr sz="2000"/>
            </a:lvl3pPr>
            <a:lvl4pPr>
              <a:buFont typeface="Wingdings" pitchFamily="2" charset="2"/>
              <a:buChar char="§"/>
              <a:defRPr sz="1800"/>
            </a:lvl4pPr>
            <a:lvl5pPr>
              <a:buFont typeface="Wingdings" pitchFamily="2" charset="2"/>
              <a:buChar char="§"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buFont typeface="Wingdings" pitchFamily="2" charset="2"/>
              <a:buChar char="§"/>
              <a:defRPr sz="2800"/>
            </a:lvl1pPr>
            <a:lvl2pPr>
              <a:buFont typeface="Wingdings" pitchFamily="2" charset="2"/>
              <a:buChar char="§"/>
              <a:defRPr sz="2400"/>
            </a:lvl2pPr>
            <a:lvl3pPr>
              <a:buFont typeface="Wingdings" pitchFamily="2" charset="2"/>
              <a:buChar char="§"/>
              <a:defRPr sz="2000"/>
            </a:lvl3pPr>
            <a:lvl4pPr>
              <a:buFont typeface="Wingdings" pitchFamily="2" charset="2"/>
              <a:buChar char="§"/>
              <a:defRPr sz="1800"/>
            </a:lvl4pPr>
            <a:lvl5pPr>
              <a:buFont typeface="Wingdings" pitchFamily="2" charset="2"/>
              <a:buChar char="§"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ED09C-D822-BC43-B619-750E10150D69}" type="datetimeFigureOut">
              <a:rPr lang="en-US" smtClean="0"/>
              <a:pPr/>
              <a:t>2/21/201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60A39-4AFD-43E9-A649-069B6F615F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258709" cy="133923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bg1"/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buFont typeface="Wingdings" pitchFamily="2" charset="2"/>
              <a:buChar char="§"/>
              <a:defRPr sz="2400"/>
            </a:lvl1pPr>
            <a:lvl2pPr>
              <a:buFont typeface="Wingdings" pitchFamily="2" charset="2"/>
              <a:buChar char="§"/>
              <a:defRPr sz="2000"/>
            </a:lvl2pPr>
            <a:lvl3pPr>
              <a:buFont typeface="Wingdings" pitchFamily="2" charset="2"/>
              <a:buChar char="§"/>
              <a:defRPr sz="1800"/>
            </a:lvl3pPr>
            <a:lvl4pPr>
              <a:buFont typeface="Wingdings" pitchFamily="2" charset="2"/>
              <a:buChar char="§"/>
              <a:defRPr sz="1600"/>
            </a:lvl4pPr>
            <a:lvl5pPr>
              <a:buFont typeface="Wingdings" pitchFamily="2" charset="2"/>
              <a:buChar char="§"/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buFont typeface="Wingdings" pitchFamily="2" charset="2"/>
              <a:buChar char="§"/>
              <a:defRPr sz="2400"/>
            </a:lvl1pPr>
            <a:lvl2pPr>
              <a:buFont typeface="Wingdings" pitchFamily="2" charset="2"/>
              <a:buChar char="§"/>
              <a:defRPr sz="2000"/>
            </a:lvl2pPr>
            <a:lvl3pPr>
              <a:buFont typeface="Wingdings" pitchFamily="2" charset="2"/>
              <a:buChar char="§"/>
              <a:defRPr sz="1800"/>
            </a:lvl3pPr>
            <a:lvl4pPr>
              <a:buFont typeface="Wingdings" pitchFamily="2" charset="2"/>
              <a:buChar char="§"/>
              <a:defRPr sz="1600"/>
            </a:lvl4pPr>
            <a:lvl5pPr>
              <a:buFont typeface="Wingdings" pitchFamily="2" charset="2"/>
              <a:buChar char="§"/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ED09C-D822-BC43-B619-750E10150D69}" type="datetimeFigureOut">
              <a:rPr lang="en-US" smtClean="0"/>
              <a:pPr/>
              <a:t>2/21/201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60A39-4AFD-43E9-A649-069B6F615F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0" y="0"/>
            <a:ext cx="258709" cy="133923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bg1"/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0" y="0"/>
            <a:ext cx="9144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chemeClr val="bg1">
                    <a:lumMod val="75000"/>
                  </a:schemeClr>
                </a:solidFill>
              </a:rPr>
              <a:t>Revolution</a:t>
            </a:r>
            <a:r>
              <a:rPr lang="en-US" sz="1000" baseline="0" dirty="0" smtClean="0">
                <a:solidFill>
                  <a:schemeClr val="bg1">
                    <a:lumMod val="75000"/>
                  </a:schemeClr>
                </a:solidFill>
              </a:rPr>
              <a:t> Confidential</a:t>
            </a:r>
            <a:endParaRPr lang="en-US" sz="1000" dirty="0">
              <a:solidFill>
                <a:schemeClr val="bg1">
                  <a:lumMod val="7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ED09C-D822-BC43-B619-750E10150D69}" type="datetimeFigureOut">
              <a:rPr lang="en-US" smtClean="0"/>
              <a:pPr/>
              <a:t>2/21/201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60A39-4AFD-43E9-A649-069B6F615F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0" y="0"/>
            <a:ext cx="258709" cy="133923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bg1"/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8709" y="196238"/>
            <a:ext cx="8631481" cy="93271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709" y="1339238"/>
            <a:ext cx="8631936" cy="49224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573079" y="6356350"/>
            <a:ext cx="907297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FED09C-D822-BC43-B619-750E10150D69}" type="datetimeFigureOut">
              <a:rPr lang="en-US" smtClean="0"/>
              <a:pPr/>
              <a:t>2/21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80375" y="6356350"/>
            <a:ext cx="457837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58745" y="6356350"/>
            <a:ext cx="831446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C60A39-4AFD-43E9-A649-069B6F615F5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 descr="RA_thinR_179.jpg"/>
          <p:cNvPicPr>
            <a:picLocks noChangeAspect="1"/>
          </p:cNvPicPr>
          <p:nvPr/>
        </p:nvPicPr>
        <p:blipFill>
          <a:blip r:embed="rId17" cstate="print"/>
          <a:stretch>
            <a:fillRect/>
          </a:stretch>
        </p:blipFill>
        <p:spPr>
          <a:xfrm>
            <a:off x="258709" y="6340126"/>
            <a:ext cx="1658042" cy="381349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 bwMode="auto">
          <a:xfrm>
            <a:off x="7010400" y="533400"/>
            <a:ext cx="20574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b">
            <a:normAutofit/>
          </a:bodyPr>
          <a:lstStyle/>
          <a:p>
            <a:pPr marL="342900" indent="-342900" algn="r">
              <a:lnSpc>
                <a:spcPct val="70000"/>
              </a:lnSpc>
              <a:spcBef>
                <a:spcPct val="60000"/>
              </a:spcBef>
              <a:buFont typeface="Wingdings" pitchFamily="2" charset="2"/>
              <a:buNone/>
            </a:pPr>
            <a:r>
              <a:rPr lang="en-US" sz="1200" b="0" dirty="0" smtClean="0">
                <a:solidFill>
                  <a:schemeClr val="bg1"/>
                </a:solidFill>
                <a:effectLst/>
                <a:latin typeface="Constantia" pitchFamily="18" charset="0"/>
                <a:ea typeface="ＭＳ Ｐゴシック" pitchFamily="34" charset="-128"/>
              </a:rPr>
              <a:t>Revolution Confidential</a:t>
            </a:r>
            <a:endParaRPr lang="en-US" sz="1200" b="0" dirty="0">
              <a:solidFill>
                <a:schemeClr val="bg1"/>
              </a:solidFill>
              <a:effectLst/>
              <a:latin typeface="Constantia" pitchFamily="18" charset="0"/>
              <a:ea typeface="ＭＳ Ｐゴシック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0" r:id="rId13"/>
    <p:sldLayoutId id="2147483721" r:id="rId14"/>
    <p:sldLayoutId id="2147483722" r:id="rId15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3600" b="1" i="0" kern="1200">
          <a:solidFill>
            <a:srgbClr val="3A497A"/>
          </a:solidFill>
          <a:latin typeface="Arial Bold"/>
          <a:ea typeface="+mj-ea"/>
          <a:cs typeface="Arial Bold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rgbClr val="FF6600"/>
        </a:buClr>
        <a:buFont typeface="Wingdings" charset="2"/>
        <a:buNone/>
        <a:defRPr sz="3200" b="0" i="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Clr>
          <a:srgbClr val="FF6600"/>
        </a:buClr>
        <a:buFont typeface="Wingdings" charset="2"/>
        <a:buNone/>
        <a:defRPr sz="2800" b="0" i="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Clr>
          <a:srgbClr val="FF6600"/>
        </a:buClr>
        <a:buFont typeface="Wingdings" charset="2"/>
        <a:buNone/>
        <a:defRPr sz="2400" b="0" i="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Clr>
          <a:srgbClr val="FF6600"/>
        </a:buClr>
        <a:buFont typeface="Wingdings" charset="2"/>
        <a:buNone/>
        <a:defRPr sz="2000" b="0" i="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Clr>
          <a:srgbClr val="FF6600"/>
        </a:buClr>
        <a:buFont typeface="Wingdings" charset="2"/>
        <a:buNone/>
        <a:defRPr sz="2000" b="0" i="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gif"/><Relationship Id="rId3" Type="http://schemas.openxmlformats.org/officeDocument/2006/relationships/diagramLayout" Target="../diagrams/layout1.xml"/><Relationship Id="rId7" Type="http://schemas.openxmlformats.org/officeDocument/2006/relationships/image" Target="../media/image15.jpe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RevolutionAnalytics/RHadoop/wiki" TargetMode="External"/><Relationship Id="rId2" Type="http://schemas.openxmlformats.org/officeDocument/2006/relationships/hyperlink" Target="http://www.cloudera.com/hadoop/" TargetMode="Externa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RevolutionAnalytics/RHadoop/wiki/rhdfs" TargetMode="External"/><Relationship Id="rId2" Type="http://schemas.openxmlformats.org/officeDocument/2006/relationships/hyperlink" Target="https://github.com/RevolutionAnalytics/RHadoop/wiki/rmr" TargetMode="External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github.com/RevolutionAnalytics/RHadoop/wiki/rhbase" TargetMode="Externa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RevolutionAnalytics/RHadoop/wiki/Downloads" TargetMode="External"/><Relationship Id="rId2" Type="http://schemas.openxmlformats.org/officeDocument/2006/relationships/hyperlink" Target="http://bit.ly/jWyrFM" TargetMode="External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nside-r.org/howto/direct-marketing-flight-forecasting-system" TargetMode="External"/><Relationship Id="rId2" Type="http://schemas.openxmlformats.org/officeDocument/2006/relationships/hyperlink" Target="http://files.meetup.com/1225993/Nguyen_12-13-11_BARUG.pdf" TargetMode="External"/><Relationship Id="rId1" Type="http://schemas.openxmlformats.org/officeDocument/2006/relationships/slideLayout" Target="../slideLayouts/slideLayout5.xml"/><Relationship Id="rId5" Type="http://schemas.openxmlformats.org/officeDocument/2006/relationships/hyperlink" Target="http://www.rinfinance.com/agenda/2011/JoeRothermich.pdf" TargetMode="External"/><Relationship Id="rId4" Type="http://schemas.openxmlformats.org/officeDocument/2006/relationships/hyperlink" Target="http://www.inside-r.org/howto/mining-twitter-airline-consumer-sentiment" TargetMode="Externa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hyperlink" Target="http://cran.r-project.org/doc/contrib/Short-refcard.pdf" TargetMode="External"/><Relationship Id="rId13" Type="http://schemas.openxmlformats.org/officeDocument/2006/relationships/hyperlink" Target="http://www.rdatamining.com/" TargetMode="External"/><Relationship Id="rId3" Type="http://schemas.openxmlformats.org/officeDocument/2006/relationships/hyperlink" Target="http://cran.r-project.org/web/views/" TargetMode="External"/><Relationship Id="rId7" Type="http://schemas.openxmlformats.org/officeDocument/2006/relationships/hyperlink" Target="http://www.r-project.org/doc/bib/R-publications.html" TargetMode="External"/><Relationship Id="rId12" Type="http://schemas.openxmlformats.org/officeDocument/2006/relationships/hyperlink" Target="http://www.statmethods.net/" TargetMode="External"/><Relationship Id="rId2" Type="http://schemas.openxmlformats.org/officeDocument/2006/relationships/hyperlink" Target="http://www.inside-r.org/howto/how-learn-r" TargetMode="External"/><Relationship Id="rId1" Type="http://schemas.openxmlformats.org/officeDocument/2006/relationships/slideLayout" Target="../slideLayouts/slideLayout5.xml"/><Relationship Id="rId6" Type="http://schemas.openxmlformats.org/officeDocument/2006/relationships/hyperlink" Target="http://journal.r-project.org/current.html" TargetMode="External"/><Relationship Id="rId11" Type="http://schemas.openxmlformats.org/officeDocument/2006/relationships/hyperlink" Target="http://www.inside-r.org/r-resources-web" TargetMode="External"/><Relationship Id="rId5" Type="http://schemas.openxmlformats.org/officeDocument/2006/relationships/hyperlink" Target="http://cran.r-project.org/web/packages/available_packages_by_name.html" TargetMode="External"/><Relationship Id="rId10" Type="http://schemas.openxmlformats.org/officeDocument/2006/relationships/hyperlink" Target="http://blog.revolutionanalytics.com/" TargetMode="External"/><Relationship Id="rId4" Type="http://schemas.openxmlformats.org/officeDocument/2006/relationships/hyperlink" Target="http://cran.r-project.org/web/views/MachineLearning.html" TargetMode="External"/><Relationship Id="rId9" Type="http://schemas.openxmlformats.org/officeDocument/2006/relationships/hyperlink" Target="http://devcheatsheet.com/tag/r/" TargetMode="External"/><Relationship Id="rId14" Type="http://schemas.openxmlformats.org/officeDocument/2006/relationships/hyperlink" Target="http://www.readwriteweb.com/hack/2011/03/3-presentations-on-r.php" TargetMode="Externa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hyperlink" Target="http://www.kaggle.com/" TargetMode="External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oogle.com/calendar/b/0/render?tab=mc" TargetMode="External"/><Relationship Id="rId2" Type="http://schemas.openxmlformats.org/officeDocument/2006/relationships/hyperlink" Target="http://www.meetup.com/R-Users/photos/398462/4865686/" TargetMode="Externa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7.png"/><Relationship Id="rId4" Type="http://schemas.openxmlformats.org/officeDocument/2006/relationships/hyperlink" Target="http://biostat.mc.vanderbilt.edu/wiki/Main/UseR-2012" TargetMode="Externa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://www.stat.auckland.ac.nz/~ihaka/" TargetMode="External"/><Relationship Id="rId3" Type="http://schemas.openxmlformats.org/officeDocument/2006/relationships/hyperlink" Target="http://www.gnu.org/copyleft/gpl.html" TargetMode="External"/><Relationship Id="rId7" Type="http://schemas.openxmlformats.org/officeDocument/2006/relationships/hyperlink" Target="http://www.gene.com/gene/research/sci-profiles/bioinfo/gentleman/papers.html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hyperlink" Target="http://cran.r-project.org/doc/html/interface98-paper/paper_1.html" TargetMode="External"/><Relationship Id="rId11" Type="http://schemas.openxmlformats.org/officeDocument/2006/relationships/image" Target="../media/image8.png"/><Relationship Id="rId5" Type="http://schemas.openxmlformats.org/officeDocument/2006/relationships/hyperlink" Target="http://www.biostat.jhsph.edu/~rpeng/biostat776/lecture1.pdf" TargetMode="External"/><Relationship Id="rId10" Type="http://schemas.openxmlformats.org/officeDocument/2006/relationships/image" Target="../media/image7.png"/><Relationship Id="rId4" Type="http://schemas.openxmlformats.org/officeDocument/2006/relationships/hyperlink" Target="http://www-stat.stanford.edu/people/faculty/chambers/index.html" TargetMode="External"/><Relationship Id="rId9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r-project.org/foundation/main.html" TargetMode="External"/><Relationship Id="rId2" Type="http://schemas.openxmlformats.org/officeDocument/2006/relationships/hyperlink" Target="http://www.r-project.org/contributors.html" TargetMode="Externa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.png"/><Relationship Id="rId5" Type="http://schemas.openxmlformats.org/officeDocument/2006/relationships/hyperlink" Target="http://prezi.com/s1qrgfm9ko4i/the-r-ecosystem/" TargetMode="External"/><Relationship Id="rId4" Type="http://schemas.openxmlformats.org/officeDocument/2006/relationships/hyperlink" Target="http://www.r-project.org/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stat.ethz.ch/R-manual/R-patched/library/base/html/00Index.html" TargetMode="External"/><Relationship Id="rId7" Type="http://schemas.openxmlformats.org/officeDocument/2006/relationships/hyperlink" Target="http://www.debian.org/intro/about" TargetMode="External"/><Relationship Id="rId2" Type="http://schemas.openxmlformats.org/officeDocument/2006/relationships/hyperlink" Target="http://cran.r-project.org/" TargetMode="External"/><Relationship Id="rId1" Type="http://schemas.openxmlformats.org/officeDocument/2006/relationships/slideLayout" Target="../slideLayouts/slideLayout5.xml"/><Relationship Id="rId6" Type="http://schemas.openxmlformats.org/officeDocument/2006/relationships/hyperlink" Target="http://cran.cnr.berkeley.edu/" TargetMode="External"/><Relationship Id="rId5" Type="http://schemas.openxmlformats.org/officeDocument/2006/relationships/hyperlink" Target="http://cran.r-project.org/web/packages/" TargetMode="External"/><Relationship Id="rId4" Type="http://schemas.openxmlformats.org/officeDocument/2006/relationships/hyperlink" Target="http://packages.debian.org/squeeze/r-recommended" TargetMode="Externa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oleObject" Target="../embeddings/oleObject1.bin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oleObject" Target="../embeddings/oleObject3.bin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slideLayout" Target="../slideLayouts/slideLayout9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41" Type="http://schemas.openxmlformats.org/officeDocument/2006/relationships/image" Target="../media/image9.emf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oleObject" Target="../embeddings/oleObject2.bin"/><Relationship Id="rId45" Type="http://schemas.openxmlformats.org/officeDocument/2006/relationships/image" Target="../media/image6.pn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hyperlink" Target="http://r4stats.com/popularity" TargetMode="Externa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image" Target="../media/image10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blog.kaggle.com/2011/11/27/kagglers-favorite-tools/" TargetMode="External"/><Relationship Id="rId2" Type="http://schemas.openxmlformats.org/officeDocument/2006/relationships/hyperlink" Target="http://blog.revolutionanalytics.com/predictive-analytics/" TargetMode="Externa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://addictedtor.free.fr/graphiques/" TargetMode="External"/><Relationship Id="rId13" Type="http://schemas.openxmlformats.org/officeDocument/2006/relationships/image" Target="../media/image14.emf"/><Relationship Id="rId3" Type="http://schemas.openxmlformats.org/officeDocument/2006/relationships/tags" Target="../tags/tag40.xml"/><Relationship Id="rId7" Type="http://schemas.openxmlformats.org/officeDocument/2006/relationships/hyperlink" Target="http://cran.r-project.org/web/views/MachineLearning.html" TargetMode="External"/><Relationship Id="rId12" Type="http://schemas.openxmlformats.org/officeDocument/2006/relationships/image" Target="../media/image13.pn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hyperlink" Target="http://crantastic.org/tags" TargetMode="External"/><Relationship Id="rId11" Type="http://schemas.openxmlformats.org/officeDocument/2006/relationships/image" Target="../media/image12.png"/><Relationship Id="rId5" Type="http://schemas.openxmlformats.org/officeDocument/2006/relationships/hyperlink" Target="http://www.r-bloggers.com/r-references-for-handling-big-data/" TargetMode="External"/><Relationship Id="rId10" Type="http://schemas.openxmlformats.org/officeDocument/2006/relationships/hyperlink" Target="http://paulbutler.org/wp-content/uploads/2010/12/163413_479288597199_9445547199_5658562_14158417_n.png" TargetMode="External"/><Relationship Id="rId4" Type="http://schemas.openxmlformats.org/officeDocument/2006/relationships/slideLayout" Target="../slideLayouts/slideLayout5.xml"/><Relationship Id="rId9" Type="http://schemas.openxmlformats.org/officeDocument/2006/relationships/hyperlink" Target="http://cran.r-project.org/web/views/ReproducibleResearch.html" TargetMode="External"/><Relationship Id="rId1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  Introduction to R for Data Mining 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3810000" y="2895600"/>
            <a:ext cx="5159375" cy="989294"/>
          </a:xfrm>
        </p:spPr>
        <p:txBody>
          <a:bodyPr/>
          <a:lstStyle/>
          <a:p>
            <a:r>
              <a:rPr lang="en-US" dirty="0" smtClean="0"/>
              <a:t>STRATA 2012</a:t>
            </a:r>
            <a:endParaRPr lang="en-US" b="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dirty="0" smtClean="0"/>
              <a:t>Joseph B. </a:t>
            </a:r>
            <a:r>
              <a:rPr dirty="0" err="1" smtClean="0"/>
              <a:t>Rickert</a:t>
            </a:r>
            <a:r>
              <a:rPr dirty="0" smtClean="0"/>
              <a:t>, </a:t>
            </a:r>
          </a:p>
          <a:p>
            <a:r>
              <a:rPr dirty="0" smtClean="0"/>
              <a:t>Revolution Analytics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810000" y="5181600"/>
            <a:ext cx="5159375" cy="532178"/>
          </a:xfrm>
        </p:spPr>
        <p:txBody>
          <a:bodyPr/>
          <a:lstStyle/>
          <a:p>
            <a:r>
              <a:rPr lang="en-US" dirty="0" smtClean="0"/>
              <a:t>February 28, 2012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8686800" y="6400800"/>
            <a:ext cx="457200" cy="304800"/>
          </a:xfrm>
        </p:spPr>
        <p:txBody>
          <a:bodyPr/>
          <a:lstStyle/>
          <a:p>
            <a:fld id="{F3C60A39-4AFD-43E9-A649-069B6F615F5B}" type="slidenum">
              <a:rPr lang="en-US" smtClean="0"/>
              <a:pPr/>
              <a:t>1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ere we can go toda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60A39-4AFD-43E9-A649-069B6F615F5B}" type="slidenum">
              <a:rPr lang="en-US" smtClean="0"/>
              <a:pPr/>
              <a:t>10</a:t>
            </a:fld>
            <a:endParaRPr lang="en-US" dirty="0"/>
          </a:p>
        </p:txBody>
      </p:sp>
      <p:cxnSp>
        <p:nvCxnSpPr>
          <p:cNvPr id="6" name="Straight Arrow Connector 5"/>
          <p:cNvCxnSpPr/>
          <p:nvPr/>
        </p:nvCxnSpPr>
        <p:spPr>
          <a:xfrm flipV="1">
            <a:off x="3563815" y="1676400"/>
            <a:ext cx="0" cy="297180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3581400" y="4648200"/>
            <a:ext cx="5105400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224327" y="1347549"/>
            <a:ext cx="3124200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accent1"/>
                </a:solidFill>
              </a:rPr>
              <a:t>Levels of R Skill</a:t>
            </a:r>
          </a:p>
          <a:p>
            <a:endParaRPr lang="en-US" dirty="0"/>
          </a:p>
          <a:p>
            <a:r>
              <a:rPr lang="en-US" dirty="0" smtClean="0"/>
              <a:t>Write production grade code</a:t>
            </a:r>
          </a:p>
          <a:p>
            <a:endParaRPr lang="en-US" dirty="0"/>
          </a:p>
          <a:p>
            <a:r>
              <a:rPr lang="en-US" dirty="0" smtClean="0"/>
              <a:t>Write an R package</a:t>
            </a:r>
          </a:p>
          <a:p>
            <a:endParaRPr lang="en-US" dirty="0"/>
          </a:p>
          <a:p>
            <a:r>
              <a:rPr lang="en-US" dirty="0" smtClean="0"/>
              <a:t>Write code and algorithms</a:t>
            </a:r>
          </a:p>
          <a:p>
            <a:endParaRPr lang="en-US" dirty="0"/>
          </a:p>
          <a:p>
            <a:r>
              <a:rPr lang="en-US" dirty="0" smtClean="0"/>
              <a:t>Use R functions</a:t>
            </a:r>
          </a:p>
          <a:p>
            <a:endParaRPr lang="en-US" dirty="0"/>
          </a:p>
          <a:p>
            <a:r>
              <a:rPr lang="en-US" dirty="0" smtClean="0"/>
              <a:t>Use a GUI</a:t>
            </a:r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5" name="Right Arrow 4"/>
          <p:cNvSpPr/>
          <p:nvPr/>
        </p:nvSpPr>
        <p:spPr>
          <a:xfrm>
            <a:off x="4726535" y="1828800"/>
            <a:ext cx="3346391" cy="495656"/>
          </a:xfrm>
          <a:prstGeom prst="rightArrow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 </a:t>
            </a:r>
            <a:r>
              <a:rPr lang="en-US" sz="1200" dirty="0" smtClean="0"/>
              <a:t>R developer</a:t>
            </a:r>
            <a:endParaRPr lang="en-US" sz="1200" dirty="0"/>
          </a:p>
        </p:txBody>
      </p:sp>
      <p:sp>
        <p:nvSpPr>
          <p:cNvPr id="9" name="Right Arrow 8"/>
          <p:cNvSpPr/>
          <p:nvPr/>
        </p:nvSpPr>
        <p:spPr>
          <a:xfrm>
            <a:off x="4533900" y="2396383"/>
            <a:ext cx="1866900" cy="457200"/>
          </a:xfrm>
          <a:prstGeom prst="rightArrow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R contributor</a:t>
            </a:r>
            <a:endParaRPr lang="en-US" sz="1200" dirty="0"/>
          </a:p>
        </p:txBody>
      </p:sp>
      <p:sp>
        <p:nvSpPr>
          <p:cNvPr id="10" name="Right Arrow 9"/>
          <p:cNvSpPr/>
          <p:nvPr/>
        </p:nvSpPr>
        <p:spPr>
          <a:xfrm>
            <a:off x="4267200" y="2933700"/>
            <a:ext cx="1447800" cy="457200"/>
          </a:xfrm>
          <a:prstGeom prst="rightArrow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Expert R user</a:t>
            </a:r>
            <a:endParaRPr lang="en-US" sz="1200" dirty="0"/>
          </a:p>
        </p:txBody>
      </p:sp>
      <p:sp>
        <p:nvSpPr>
          <p:cNvPr id="13" name="Right Arrow 12"/>
          <p:cNvSpPr/>
          <p:nvPr/>
        </p:nvSpPr>
        <p:spPr>
          <a:xfrm>
            <a:off x="3962400" y="3535823"/>
            <a:ext cx="1143000" cy="457200"/>
          </a:xfrm>
          <a:prstGeom prst="rightArrow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R user</a:t>
            </a:r>
            <a:endParaRPr lang="en-US" sz="1200" dirty="0"/>
          </a:p>
        </p:txBody>
      </p:sp>
      <p:sp>
        <p:nvSpPr>
          <p:cNvPr id="14" name="Right Arrow 13"/>
          <p:cNvSpPr/>
          <p:nvPr/>
        </p:nvSpPr>
        <p:spPr>
          <a:xfrm>
            <a:off x="3729527" y="4114800"/>
            <a:ext cx="918673" cy="457200"/>
          </a:xfrm>
          <a:prstGeom prst="rightArrow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R aware</a:t>
            </a:r>
            <a:endParaRPr lang="en-US" sz="1200" dirty="0"/>
          </a:p>
        </p:txBody>
      </p:sp>
      <p:sp>
        <p:nvSpPr>
          <p:cNvPr id="7" name="Rectangle 6"/>
          <p:cNvSpPr/>
          <p:nvPr/>
        </p:nvSpPr>
        <p:spPr>
          <a:xfrm>
            <a:off x="3593507" y="5029201"/>
            <a:ext cx="5105400" cy="2286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Hours of use</a:t>
            </a:r>
            <a:endParaRPr lang="en-US" sz="1200" dirty="0"/>
          </a:p>
        </p:txBody>
      </p:sp>
      <p:sp>
        <p:nvSpPr>
          <p:cNvPr id="8" name="Rectangle 7"/>
          <p:cNvSpPr/>
          <p:nvPr/>
        </p:nvSpPr>
        <p:spPr>
          <a:xfrm>
            <a:off x="4536036" y="4800600"/>
            <a:ext cx="381000" cy="1524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10</a:t>
            </a:r>
            <a:endParaRPr lang="en-US" sz="1200" dirty="0"/>
          </a:p>
        </p:txBody>
      </p:sp>
      <p:sp>
        <p:nvSpPr>
          <p:cNvPr id="15" name="Rectangle 14"/>
          <p:cNvSpPr/>
          <p:nvPr/>
        </p:nvSpPr>
        <p:spPr>
          <a:xfrm>
            <a:off x="7772400" y="4800600"/>
            <a:ext cx="762000" cy="1524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10,000</a:t>
            </a:r>
            <a:endParaRPr lang="en-US" sz="1200" dirty="0"/>
          </a:p>
        </p:txBody>
      </p:sp>
      <p:sp>
        <p:nvSpPr>
          <p:cNvPr id="16" name="TextBox 15"/>
          <p:cNvSpPr txBox="1"/>
          <p:nvPr/>
        </p:nvSpPr>
        <p:spPr>
          <a:xfrm>
            <a:off x="3593507" y="5410200"/>
            <a:ext cx="5105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3"/>
                </a:solidFill>
              </a:rPr>
              <a:t>The Malcolm </a:t>
            </a:r>
            <a:r>
              <a:rPr lang="en-US" dirty="0" err="1" smtClean="0">
                <a:solidFill>
                  <a:schemeClr val="accent3"/>
                </a:solidFill>
              </a:rPr>
              <a:t>Gladwell</a:t>
            </a:r>
            <a:r>
              <a:rPr lang="en-US" dirty="0" smtClean="0">
                <a:solidFill>
                  <a:schemeClr val="accent3"/>
                </a:solidFill>
              </a:rPr>
              <a:t> “Outlier” Scale</a:t>
            </a:r>
            <a:endParaRPr lang="en-US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5257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ductory R Scrip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1.b - </a:t>
            </a:r>
            <a:r>
              <a:rPr lang="en-US" dirty="0" err="1" smtClean="0"/>
              <a:t>Rattle.R</a:t>
            </a:r>
            <a:endParaRPr lang="en-US" dirty="0" smtClean="0"/>
          </a:p>
          <a:p>
            <a:r>
              <a:rPr lang="en-US" dirty="0" smtClean="0"/>
              <a:t>1.c – Data </a:t>
            </a:r>
            <a:r>
              <a:rPr lang="en-US" dirty="0" err="1" smtClean="0"/>
              <a:t>Structures.R</a:t>
            </a:r>
            <a:endParaRPr lang="en-US" dirty="0" smtClean="0"/>
          </a:p>
          <a:p>
            <a:r>
              <a:rPr lang="en-US" dirty="0" smtClean="0"/>
              <a:t>1.d – Some </a:t>
            </a:r>
            <a:r>
              <a:rPr lang="en-US" dirty="0" err="1"/>
              <a:t>f</a:t>
            </a:r>
            <a:r>
              <a:rPr lang="en-US" dirty="0" err="1" smtClean="0"/>
              <a:t>unctions.R</a:t>
            </a:r>
            <a:endParaRPr lang="en-US" dirty="0" smtClean="0"/>
          </a:p>
          <a:p>
            <a:r>
              <a:rPr lang="en-US" dirty="0" smtClean="0"/>
              <a:t>1.e – Sample </a:t>
            </a:r>
            <a:r>
              <a:rPr lang="en-US" dirty="0" err="1"/>
              <a:t>p</a:t>
            </a:r>
            <a:r>
              <a:rPr lang="en-US" dirty="0" err="1" smtClean="0"/>
              <a:t>lots.r</a:t>
            </a:r>
            <a:endParaRPr lang="en-US" dirty="0" smtClean="0"/>
          </a:p>
          <a:p>
            <a:r>
              <a:rPr lang="en-US" dirty="0" smtClean="0"/>
              <a:t>1.f – ggplot2.R</a:t>
            </a:r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60A39-4AFD-43E9-A649-069B6F615F5B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7103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rking with data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Data Structures, Reading and Writing Files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60A39-4AFD-43E9-A649-069B6F615F5B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6038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rking with Data R Scrip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2.a – Read from </a:t>
            </a:r>
            <a:r>
              <a:rPr lang="en-US" dirty="0" err="1" smtClean="0"/>
              <a:t>csv</a:t>
            </a:r>
            <a:r>
              <a:rPr lang="en-US" dirty="0" smtClean="0"/>
              <a:t> and </a:t>
            </a:r>
            <a:r>
              <a:rPr lang="en-US" dirty="0" err="1" smtClean="0"/>
              <a:t>web.R</a:t>
            </a:r>
            <a:endParaRPr lang="en-US" dirty="0" smtClean="0"/>
          </a:p>
          <a:p>
            <a:r>
              <a:rPr lang="en-US" dirty="0" smtClean="0"/>
              <a:t>2.b – Read from </a:t>
            </a:r>
            <a:r>
              <a:rPr lang="en-US" dirty="0" err="1" smtClean="0"/>
              <a:t>google.R</a:t>
            </a:r>
            <a:endParaRPr lang="en-US" dirty="0"/>
          </a:p>
          <a:p>
            <a:r>
              <a:rPr lang="en-US" dirty="0" smtClean="0"/>
              <a:t>2.c – </a:t>
            </a:r>
            <a:r>
              <a:rPr lang="en-US" dirty="0" err="1" smtClean="0"/>
              <a:t>RSQLite.R</a:t>
            </a:r>
            <a:endParaRPr lang="en-US" dirty="0" smtClean="0"/>
          </a:p>
          <a:p>
            <a:r>
              <a:rPr lang="en-US" dirty="0" smtClean="0"/>
              <a:t>2.d – RODBC – </a:t>
            </a:r>
            <a:r>
              <a:rPr lang="en-US" dirty="0" err="1" smtClean="0"/>
              <a:t>MySQL.R</a:t>
            </a:r>
            <a:endParaRPr lang="en-US" dirty="0" smtClean="0"/>
          </a:p>
          <a:p>
            <a:r>
              <a:rPr lang="en-US" dirty="0" smtClean="0"/>
              <a:t>2.e – Manipulating </a:t>
            </a:r>
            <a:r>
              <a:rPr lang="en-US" dirty="0" err="1" smtClean="0"/>
              <a:t>Data.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60A39-4AFD-43E9-A649-069B6F615F5B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7759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asic Statistics 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Exploratory Data Analysis, Linear Models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60A39-4AFD-43E9-A649-069B6F615F5B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8566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asic Statistics R Scrip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3.a </a:t>
            </a:r>
            <a:r>
              <a:rPr lang="en-US" dirty="0" smtClean="0"/>
              <a:t>– The </a:t>
            </a:r>
            <a:r>
              <a:rPr lang="en-US" dirty="0" err="1" smtClean="0"/>
              <a:t>Basics.R</a:t>
            </a:r>
            <a:endParaRPr lang="en-US" dirty="0" smtClean="0"/>
          </a:p>
          <a:p>
            <a:r>
              <a:rPr lang="en-US" dirty="0" smtClean="0"/>
              <a:t>3.b </a:t>
            </a:r>
            <a:r>
              <a:rPr lang="en-US" dirty="0" smtClean="0"/>
              <a:t>– </a:t>
            </a:r>
            <a:r>
              <a:rPr lang="en-US" dirty="0" err="1" smtClean="0"/>
              <a:t>Regression.R</a:t>
            </a:r>
            <a:endParaRPr lang="en-US" dirty="0" smtClean="0"/>
          </a:p>
          <a:p>
            <a:r>
              <a:rPr lang="en-US" dirty="0" smtClean="0"/>
              <a:t>3.c </a:t>
            </a:r>
            <a:r>
              <a:rPr lang="en-US" dirty="0" smtClean="0"/>
              <a:t>– Exploratory Data </a:t>
            </a:r>
            <a:r>
              <a:rPr lang="en-US" dirty="0" err="1" smtClean="0"/>
              <a:t>Analysis.T</a:t>
            </a:r>
            <a:endParaRPr lang="en-US" dirty="0" smtClean="0"/>
          </a:p>
          <a:p>
            <a:r>
              <a:rPr lang="en-US" dirty="0" smtClean="0"/>
              <a:t>3.d </a:t>
            </a:r>
            <a:r>
              <a:rPr lang="en-US" dirty="0" smtClean="0"/>
              <a:t>– Assessing Predictive </a:t>
            </a:r>
            <a:r>
              <a:rPr lang="en-US" dirty="0" err="1" smtClean="0"/>
              <a:t>Accuracy.R</a:t>
            </a:r>
            <a:endParaRPr lang="en-US" dirty="0" smtClean="0"/>
          </a:p>
          <a:p>
            <a:r>
              <a:rPr lang="en-US" dirty="0" smtClean="0"/>
              <a:t>3.e </a:t>
            </a:r>
            <a:r>
              <a:rPr lang="en-US" dirty="0" smtClean="0"/>
              <a:t>– Logistic </a:t>
            </a:r>
            <a:r>
              <a:rPr lang="en-US" dirty="0" err="1" smtClean="0"/>
              <a:t>Regression.R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60A39-4AFD-43E9-A649-069B6F615F5B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1321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ta mining with r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lustering and Classifications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60A39-4AFD-43E9-A649-069B6F615F5B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8486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709" y="196238"/>
            <a:ext cx="3017891" cy="932715"/>
          </a:xfrm>
        </p:spPr>
        <p:txBody>
          <a:bodyPr/>
          <a:lstStyle/>
          <a:p>
            <a:r>
              <a:rPr lang="en-US" dirty="0" smtClean="0"/>
              <a:t>Data Mining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60A39-4AFD-43E9-A649-069B6F615F5B}" type="slidenum">
              <a:rPr lang="en-US" smtClean="0"/>
              <a:pPr/>
              <a:t>17</a:t>
            </a:fld>
            <a:endParaRPr lang="en-US" dirty="0"/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3156600248"/>
              </p:ext>
            </p:extLst>
          </p:nvPr>
        </p:nvGraphicFramePr>
        <p:xfrm>
          <a:off x="2819400" y="457200"/>
          <a:ext cx="6096000" cy="5943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099" name="Picture 3" descr="C:\Users\Joseph\AppData\Local\Microsoft\Windows\Temporary Internet Files\Content.IE5\CH68LYA1\MP900442409[1]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" y="1371600"/>
            <a:ext cx="3607109" cy="2651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C:\Users\Joseph\AppData\Local\Microsoft\Windows\Temporary Internet Files\Content.IE5\7O7CG2FL\MM900356651[1].gif"/>
          <p:cNvPicPr>
            <a:picLocks noChangeAspect="1" noChangeArrowheads="1" noCrop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4846" y="4267200"/>
            <a:ext cx="1828801" cy="1920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89080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ta Mining R Scripts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 smtClean="0"/>
              <a:t>4.a - Cleaning </a:t>
            </a:r>
            <a:r>
              <a:rPr lang="en-US" dirty="0" err="1" smtClean="0"/>
              <a:t>Data.R</a:t>
            </a:r>
            <a:endParaRPr lang="en-US" dirty="0" smtClean="0"/>
          </a:p>
          <a:p>
            <a:r>
              <a:rPr lang="en-US" dirty="0" smtClean="0"/>
              <a:t>4.b – </a:t>
            </a:r>
            <a:r>
              <a:rPr lang="en-US" dirty="0" err="1" smtClean="0"/>
              <a:t>Explore.R</a:t>
            </a:r>
            <a:endParaRPr lang="en-US" dirty="0" smtClean="0"/>
          </a:p>
          <a:p>
            <a:r>
              <a:rPr lang="en-US" dirty="0" smtClean="0"/>
              <a:t>4.c – </a:t>
            </a:r>
            <a:r>
              <a:rPr lang="en-US" dirty="0" smtClean="0"/>
              <a:t>Boxplot different </a:t>
            </a:r>
            <a:r>
              <a:rPr lang="en-US" dirty="0" err="1" smtClean="0"/>
              <a:t>skills.R</a:t>
            </a:r>
            <a:endParaRPr lang="en-US" dirty="0" smtClean="0"/>
          </a:p>
          <a:p>
            <a:r>
              <a:rPr lang="en-US" dirty="0" smtClean="0"/>
              <a:t>4.d – Hierarchical </a:t>
            </a:r>
            <a:r>
              <a:rPr lang="en-US" dirty="0" err="1" smtClean="0"/>
              <a:t>corr</a:t>
            </a:r>
            <a:r>
              <a:rPr lang="en-US" dirty="0" smtClean="0"/>
              <a:t> </a:t>
            </a:r>
            <a:r>
              <a:rPr lang="en-US" dirty="0" err="1" smtClean="0"/>
              <a:t>plot.R</a:t>
            </a:r>
            <a:endParaRPr lang="en-US" dirty="0" smtClean="0"/>
          </a:p>
          <a:p>
            <a:r>
              <a:rPr lang="en-US" dirty="0" smtClean="0"/>
              <a:t>4.e – Basic </a:t>
            </a:r>
            <a:r>
              <a:rPr lang="en-US" dirty="0" err="1" smtClean="0"/>
              <a:t>kmeans.R</a:t>
            </a:r>
            <a:endParaRPr lang="en-US" dirty="0" smtClean="0"/>
          </a:p>
          <a:p>
            <a:r>
              <a:rPr lang="en-US" dirty="0" smtClean="0"/>
              <a:t>4.f – </a:t>
            </a:r>
            <a:r>
              <a:rPr lang="en-US" dirty="0" err="1" smtClean="0"/>
              <a:t>Kmeans.R</a:t>
            </a:r>
            <a:endParaRPr lang="en-US" dirty="0" smtClean="0"/>
          </a:p>
          <a:p>
            <a:r>
              <a:rPr lang="en-US" dirty="0" smtClean="0"/>
              <a:t>4.g – Tree with </a:t>
            </a:r>
            <a:r>
              <a:rPr lang="en-US" dirty="0" err="1" smtClean="0"/>
              <a:t>rpart.R</a:t>
            </a:r>
            <a:endParaRPr lang="en-US" dirty="0" smtClean="0"/>
          </a:p>
          <a:p>
            <a:r>
              <a:rPr lang="en-US" dirty="0" smtClean="0"/>
              <a:t>4.g.2 – Spam </a:t>
            </a:r>
            <a:r>
              <a:rPr lang="en-US" dirty="0" err="1" smtClean="0"/>
              <a:t>tree.R</a:t>
            </a:r>
            <a:endParaRPr lang="en-US" dirty="0" smtClean="0"/>
          </a:p>
          <a:p>
            <a:r>
              <a:rPr lang="en-US" dirty="0"/>
              <a:t>4.h – Build tree and </a:t>
            </a:r>
            <a:r>
              <a:rPr lang="en-US" dirty="0" err="1" smtClean="0"/>
              <a:t>evaluate.R</a:t>
            </a:r>
            <a:endParaRPr lang="en-US" dirty="0" smtClean="0"/>
          </a:p>
          <a:p>
            <a:r>
              <a:rPr lang="en-US" dirty="0"/>
              <a:t>4.i – RISK.R</a:t>
            </a:r>
          </a:p>
          <a:p>
            <a:r>
              <a:rPr lang="en-US" dirty="0" smtClean="0"/>
              <a:t>4.j – Conditional Inference </a:t>
            </a:r>
            <a:r>
              <a:rPr lang="en-US" dirty="0" err="1" smtClean="0"/>
              <a:t>Tree.R</a:t>
            </a:r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60A39-4AFD-43E9-A649-069B6F615F5B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01520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ta Mining R Scripts (continued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8631936" cy="4922488"/>
          </a:xfrm>
        </p:spPr>
        <p:txBody>
          <a:bodyPr>
            <a:normAutofit lnSpcReduction="10000"/>
          </a:bodyPr>
          <a:lstStyle/>
          <a:p>
            <a:r>
              <a:rPr lang="en-US" dirty="0" smtClean="0"/>
              <a:t>4.k </a:t>
            </a:r>
            <a:r>
              <a:rPr lang="en-US" dirty="0" smtClean="0"/>
              <a:t>– Random </a:t>
            </a:r>
            <a:r>
              <a:rPr lang="en-US" dirty="0" err="1" smtClean="0"/>
              <a:t>Forest.R</a:t>
            </a:r>
            <a:endParaRPr lang="en-US" dirty="0" smtClean="0"/>
          </a:p>
          <a:p>
            <a:r>
              <a:rPr lang="en-US" dirty="0" smtClean="0"/>
              <a:t>4.l – Boosted </a:t>
            </a:r>
            <a:r>
              <a:rPr lang="en-US" dirty="0" err="1" smtClean="0"/>
              <a:t>Tree.R</a:t>
            </a:r>
            <a:endParaRPr lang="en-US" dirty="0" smtClean="0"/>
          </a:p>
          <a:p>
            <a:r>
              <a:rPr lang="en-US" dirty="0" smtClean="0"/>
              <a:t>4.m – SVM.R</a:t>
            </a:r>
          </a:p>
          <a:p>
            <a:r>
              <a:rPr lang="en-US" dirty="0" smtClean="0"/>
              <a:t>4.n – Sentiment </a:t>
            </a:r>
            <a:r>
              <a:rPr lang="en-US" dirty="0" err="1" smtClean="0"/>
              <a:t>analysis.R</a:t>
            </a:r>
            <a:endParaRPr lang="en-US" dirty="0" smtClean="0"/>
          </a:p>
          <a:p>
            <a:r>
              <a:rPr lang="en-US" dirty="0" smtClean="0"/>
              <a:t>4.o – Market Basket </a:t>
            </a:r>
            <a:r>
              <a:rPr lang="en-US" dirty="0" err="1" smtClean="0"/>
              <a:t>Analysis.R</a:t>
            </a:r>
            <a:endParaRPr lang="en-US" dirty="0" smtClean="0"/>
          </a:p>
          <a:p>
            <a:r>
              <a:rPr lang="en-US" dirty="0" smtClean="0"/>
              <a:t>4.p – Multiple </a:t>
            </a:r>
            <a:r>
              <a:rPr lang="en-US" dirty="0" err="1" smtClean="0"/>
              <a:t>Methods.R</a:t>
            </a:r>
            <a:endParaRPr lang="en-US" dirty="0" smtClean="0"/>
          </a:p>
          <a:p>
            <a:r>
              <a:rPr lang="en-US" dirty="0" smtClean="0"/>
              <a:t>4.q – </a:t>
            </a:r>
            <a:r>
              <a:rPr lang="en-US" dirty="0" err="1" smtClean="0"/>
              <a:t>gbm</a:t>
            </a:r>
            <a:r>
              <a:rPr lang="en-US" dirty="0" smtClean="0"/>
              <a:t> </a:t>
            </a:r>
            <a:r>
              <a:rPr lang="en-US" dirty="0" err="1" smtClean="0"/>
              <a:t>vs</a:t>
            </a:r>
            <a:r>
              <a:rPr lang="en-US" dirty="0" smtClean="0"/>
              <a:t> </a:t>
            </a:r>
            <a:r>
              <a:rPr lang="en-US" dirty="0" err="1" smtClean="0"/>
              <a:t>tree.R</a:t>
            </a:r>
            <a:endParaRPr lang="en-US" dirty="0" smtClean="0"/>
          </a:p>
          <a:p>
            <a:r>
              <a:rPr lang="en-US" dirty="0" smtClean="0"/>
              <a:t>4.r – Html </a:t>
            </a:r>
            <a:r>
              <a:rPr lang="en-US" dirty="0" err="1" smtClean="0"/>
              <a:t>Report.R</a:t>
            </a:r>
            <a:endParaRPr lang="en-US" dirty="0" smtClean="0"/>
          </a:p>
          <a:p>
            <a:r>
              <a:rPr lang="en-US" dirty="0" smtClean="0"/>
              <a:t>4.r.2 – Report </a:t>
            </a:r>
            <a:r>
              <a:rPr lang="en-US" dirty="0" err="1" smtClean="0"/>
              <a:t>function.R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60A39-4AFD-43E9-A649-069B6F615F5B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923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lvl="0">
              <a:buFont typeface="Arial"/>
              <a:buChar char="•"/>
            </a:pPr>
            <a:r>
              <a:rPr lang="en-US" sz="1500" dirty="0" smtClean="0">
                <a:solidFill>
                  <a:prstClr val="black"/>
                </a:solidFill>
              </a:rPr>
              <a:t>The R Language</a:t>
            </a:r>
          </a:p>
          <a:p>
            <a:pPr lvl="1">
              <a:buFont typeface="Arial"/>
              <a:buChar char="•"/>
            </a:pPr>
            <a:r>
              <a:rPr lang="en-US" sz="1300" dirty="0" smtClean="0">
                <a:solidFill>
                  <a:prstClr val="black"/>
                </a:solidFill>
              </a:rPr>
              <a:t>Where </a:t>
            </a:r>
            <a:r>
              <a:rPr lang="en-US" sz="1300" dirty="0">
                <a:solidFill>
                  <a:prstClr val="black"/>
                </a:solidFill>
              </a:rPr>
              <a:t>did R come from?</a:t>
            </a:r>
          </a:p>
          <a:p>
            <a:pPr lvl="1">
              <a:buFont typeface="Arial"/>
              <a:buChar char="•"/>
            </a:pPr>
            <a:r>
              <a:rPr lang="en-US" sz="1300" dirty="0">
                <a:solidFill>
                  <a:prstClr val="black"/>
                </a:solidFill>
              </a:rPr>
              <a:t>What makes R different from other statistical software</a:t>
            </a:r>
            <a:r>
              <a:rPr lang="en-US" sz="1300" dirty="0" smtClean="0">
                <a:solidFill>
                  <a:prstClr val="black"/>
                </a:solidFill>
              </a:rPr>
              <a:t>?</a:t>
            </a:r>
          </a:p>
          <a:p>
            <a:pPr lvl="0">
              <a:buFont typeface="Arial"/>
              <a:buChar char="•"/>
            </a:pPr>
            <a:r>
              <a:rPr lang="en-US" sz="1500" dirty="0" smtClean="0">
                <a:solidFill>
                  <a:prstClr val="black"/>
                </a:solidFill>
              </a:rPr>
              <a:t>Working with Data</a:t>
            </a:r>
            <a:endParaRPr lang="en-US" sz="1500" dirty="0">
              <a:solidFill>
                <a:prstClr val="black"/>
              </a:solidFill>
            </a:endParaRPr>
          </a:p>
          <a:p>
            <a:pPr lvl="1">
              <a:buFont typeface="Arial"/>
              <a:buChar char="•"/>
            </a:pPr>
            <a:r>
              <a:rPr lang="en-US" sz="1300" dirty="0">
                <a:solidFill>
                  <a:prstClr val="black"/>
                </a:solidFill>
              </a:rPr>
              <a:t>Data structures in R </a:t>
            </a:r>
          </a:p>
          <a:p>
            <a:pPr lvl="1">
              <a:buFont typeface="Arial"/>
              <a:buChar char="•"/>
            </a:pPr>
            <a:r>
              <a:rPr lang="en-US" sz="1300" dirty="0">
                <a:solidFill>
                  <a:prstClr val="black"/>
                </a:solidFill>
              </a:rPr>
              <a:t>Reading and writing data sets</a:t>
            </a:r>
          </a:p>
          <a:p>
            <a:pPr lvl="1">
              <a:buFont typeface="Arial"/>
              <a:buChar char="•"/>
            </a:pPr>
            <a:r>
              <a:rPr lang="en-US" sz="1300" dirty="0">
                <a:solidFill>
                  <a:prstClr val="black"/>
                </a:solidFill>
              </a:rPr>
              <a:t>Manipulating Data</a:t>
            </a:r>
          </a:p>
          <a:p>
            <a:pPr lvl="0">
              <a:buFont typeface="Arial"/>
              <a:buChar char="•"/>
            </a:pPr>
            <a:r>
              <a:rPr lang="en-US" sz="1500" dirty="0">
                <a:solidFill>
                  <a:prstClr val="black"/>
                </a:solidFill>
              </a:rPr>
              <a:t>Basic statistics in R </a:t>
            </a:r>
          </a:p>
          <a:p>
            <a:pPr lvl="1">
              <a:buFont typeface="Arial"/>
              <a:buChar char="•"/>
            </a:pPr>
            <a:r>
              <a:rPr lang="en-US" sz="1300" dirty="0">
                <a:solidFill>
                  <a:prstClr val="black"/>
                </a:solidFill>
              </a:rPr>
              <a:t>Exploratory Data Analysis</a:t>
            </a:r>
          </a:p>
          <a:p>
            <a:pPr lvl="1">
              <a:buFont typeface="Arial"/>
              <a:buChar char="•"/>
            </a:pPr>
            <a:r>
              <a:rPr lang="en-US" sz="1300" dirty="0">
                <a:solidFill>
                  <a:prstClr val="black"/>
                </a:solidFill>
              </a:rPr>
              <a:t>Multiple Regression</a:t>
            </a:r>
          </a:p>
          <a:p>
            <a:pPr lvl="1">
              <a:buFont typeface="Arial"/>
              <a:buChar char="•"/>
            </a:pPr>
            <a:r>
              <a:rPr lang="en-US" sz="1300" dirty="0">
                <a:solidFill>
                  <a:prstClr val="black"/>
                </a:solidFill>
              </a:rPr>
              <a:t>Logistic Regression</a:t>
            </a:r>
          </a:p>
          <a:p>
            <a:pPr lvl="0">
              <a:buFont typeface="Arial"/>
              <a:buChar char="•"/>
            </a:pPr>
            <a:r>
              <a:rPr lang="en-US" sz="1500" dirty="0">
                <a:solidFill>
                  <a:prstClr val="black"/>
                </a:solidFill>
              </a:rPr>
              <a:t>Data </a:t>
            </a:r>
            <a:r>
              <a:rPr lang="en-US" sz="1500" dirty="0" smtClean="0">
                <a:solidFill>
                  <a:prstClr val="black"/>
                </a:solidFill>
              </a:rPr>
              <a:t>Mining </a:t>
            </a:r>
            <a:r>
              <a:rPr lang="en-US" sz="1500" dirty="0">
                <a:solidFill>
                  <a:prstClr val="black"/>
                </a:solidFill>
              </a:rPr>
              <a:t>in R </a:t>
            </a:r>
          </a:p>
          <a:p>
            <a:pPr lvl="1">
              <a:buFont typeface="Arial"/>
              <a:buChar char="•"/>
            </a:pPr>
            <a:r>
              <a:rPr lang="en-US" sz="1300" dirty="0" smtClean="0">
                <a:solidFill>
                  <a:prstClr val="black"/>
                </a:solidFill>
              </a:rPr>
              <a:t>Cluster analysis</a:t>
            </a:r>
          </a:p>
          <a:p>
            <a:pPr lvl="1">
              <a:buFont typeface="Arial"/>
              <a:buChar char="•"/>
            </a:pPr>
            <a:r>
              <a:rPr lang="en-US" sz="1300" dirty="0" smtClean="0">
                <a:solidFill>
                  <a:prstClr val="black"/>
                </a:solidFill>
              </a:rPr>
              <a:t>Classification algorithms</a:t>
            </a:r>
          </a:p>
          <a:p>
            <a:pPr lvl="0">
              <a:buFont typeface="Arial"/>
              <a:buChar char="•"/>
            </a:pPr>
            <a:r>
              <a:rPr lang="en-US" sz="1500" dirty="0" smtClean="0">
                <a:solidFill>
                  <a:prstClr val="black"/>
                </a:solidFill>
              </a:rPr>
              <a:t>Working </a:t>
            </a:r>
            <a:r>
              <a:rPr lang="en-US" sz="1500" dirty="0">
                <a:solidFill>
                  <a:prstClr val="black"/>
                </a:solidFill>
              </a:rPr>
              <a:t>with Big Data </a:t>
            </a:r>
          </a:p>
          <a:p>
            <a:pPr lvl="1">
              <a:buFont typeface="Arial"/>
              <a:buChar char="•"/>
            </a:pPr>
            <a:r>
              <a:rPr lang="en-US" sz="1300" dirty="0">
                <a:solidFill>
                  <a:prstClr val="black"/>
                </a:solidFill>
              </a:rPr>
              <a:t>Challenges</a:t>
            </a:r>
          </a:p>
          <a:p>
            <a:pPr lvl="1">
              <a:buFont typeface="Arial"/>
              <a:buChar char="•"/>
            </a:pPr>
            <a:r>
              <a:rPr lang="en-US" sz="1300" dirty="0">
                <a:solidFill>
                  <a:prstClr val="black"/>
                </a:solidFill>
              </a:rPr>
              <a:t>Extensions to R for big data</a:t>
            </a:r>
          </a:p>
          <a:p>
            <a:pPr lvl="0">
              <a:buFont typeface="Arial"/>
              <a:buChar char="•"/>
            </a:pPr>
            <a:r>
              <a:rPr lang="en-US" sz="1500" dirty="0">
                <a:solidFill>
                  <a:prstClr val="black"/>
                </a:solidFill>
              </a:rPr>
              <a:t>Where to go from here? </a:t>
            </a:r>
          </a:p>
          <a:p>
            <a:pPr lvl="1">
              <a:buFont typeface="Arial"/>
              <a:buChar char="•"/>
            </a:pPr>
            <a:r>
              <a:rPr lang="en-US" sz="1300" dirty="0">
                <a:solidFill>
                  <a:prstClr val="black"/>
                </a:solidFill>
              </a:rPr>
              <a:t>The R community</a:t>
            </a:r>
          </a:p>
          <a:p>
            <a:pPr lvl="1">
              <a:buFont typeface="Arial"/>
              <a:buChar char="•"/>
            </a:pPr>
            <a:r>
              <a:rPr lang="en-US" sz="1300" dirty="0">
                <a:solidFill>
                  <a:prstClr val="black"/>
                </a:solidFill>
              </a:rPr>
              <a:t>Resources for learning R</a:t>
            </a:r>
          </a:p>
          <a:p>
            <a:pPr lvl="1">
              <a:buFont typeface="Arial"/>
              <a:buChar char="•"/>
            </a:pPr>
            <a:r>
              <a:rPr lang="en-US" sz="1300" dirty="0">
                <a:solidFill>
                  <a:prstClr val="black"/>
                </a:solidFill>
              </a:rPr>
              <a:t>Getting help</a:t>
            </a:r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60A39-4AFD-43E9-A649-069B6F615F5B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5800" y="2590800"/>
            <a:ext cx="2646949" cy="20116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92390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ig data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Revolution Analytics RevoScaleR and </a:t>
            </a:r>
            <a:r>
              <a:rPr lang="en-US" dirty="0" err="1" smtClean="0"/>
              <a:t>Hadoop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60A39-4AFD-43E9-A649-069B6F615F5B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777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Big Data Hierarch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60A39-4AFD-43E9-A649-069B6F615F5B}" type="slidenum">
              <a:rPr lang="en-US" smtClean="0"/>
              <a:pPr/>
              <a:t>21</a:t>
            </a:fld>
            <a:endParaRPr lang="en-US" dirty="0"/>
          </a:p>
        </p:txBody>
      </p:sp>
      <p:cxnSp>
        <p:nvCxnSpPr>
          <p:cNvPr id="6" name="Straight Arrow Connector 5"/>
          <p:cNvCxnSpPr/>
          <p:nvPr/>
        </p:nvCxnSpPr>
        <p:spPr>
          <a:xfrm flipV="1">
            <a:off x="2133600" y="1676400"/>
            <a:ext cx="0" cy="350520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2133600" y="5181600"/>
            <a:ext cx="5623960" cy="11724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Oval 11"/>
          <p:cNvSpPr>
            <a:spLocks noChangeAspect="1"/>
          </p:cNvSpPr>
          <p:nvPr/>
        </p:nvSpPr>
        <p:spPr>
          <a:xfrm rot="-1260000">
            <a:off x="1999665" y="4303835"/>
            <a:ext cx="1225296" cy="918972"/>
          </a:xfrm>
          <a:prstGeom prst="ellips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accent3">
                    <a:lumMod val="50000"/>
                  </a:schemeClr>
                </a:solidFill>
              </a:rPr>
              <a:t>R</a:t>
            </a:r>
            <a:endParaRPr lang="en-US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3" name="Oval 12"/>
          <p:cNvSpPr>
            <a:spLocks noChangeAspect="1"/>
          </p:cNvSpPr>
          <p:nvPr/>
        </p:nvSpPr>
        <p:spPr>
          <a:xfrm rot="-1440000">
            <a:off x="2710060" y="3435779"/>
            <a:ext cx="2060244" cy="1399032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0000"/>
                </a:solidFill>
              </a:rPr>
              <a:t>RevoScaleR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4" name="Oval 13"/>
          <p:cNvSpPr>
            <a:spLocks noChangeAspect="1"/>
          </p:cNvSpPr>
          <p:nvPr/>
        </p:nvSpPr>
        <p:spPr>
          <a:xfrm rot="-1620000">
            <a:off x="4042959" y="1646742"/>
            <a:ext cx="3329242" cy="2496931"/>
          </a:xfrm>
          <a:prstGeom prst="ellipse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3600" dirty="0" err="1">
                <a:solidFill>
                  <a:schemeClr val="accent2">
                    <a:lumMod val="75000"/>
                  </a:schemeClr>
                </a:solidFill>
              </a:rPr>
              <a:t>R</a:t>
            </a:r>
            <a:r>
              <a:rPr lang="en-US" sz="3600" dirty="0" err="1" smtClean="0">
                <a:solidFill>
                  <a:schemeClr val="accent2">
                    <a:lumMod val="75000"/>
                  </a:schemeClr>
                </a:solidFill>
              </a:rPr>
              <a:t>Hadoop</a:t>
            </a:r>
            <a:endParaRPr lang="en-US" sz="36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04800" y="2209800"/>
            <a:ext cx="1600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Infrastructure</a:t>
            </a:r>
            <a:endParaRPr lang="en-US" dirty="0" smtClean="0"/>
          </a:p>
          <a:p>
            <a:pPr algn="ctr"/>
            <a:r>
              <a:rPr lang="en-US" dirty="0" smtClean="0"/>
              <a:t>Complexity</a:t>
            </a:r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3948597" y="5562600"/>
            <a:ext cx="19939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Data Siz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3367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ig Data R Scrip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5.a – Import Airline </a:t>
            </a:r>
            <a:r>
              <a:rPr lang="en-US" dirty="0" err="1" smtClean="0"/>
              <a:t>csv</a:t>
            </a:r>
            <a:r>
              <a:rPr lang="en-US" dirty="0" smtClean="0"/>
              <a:t> </a:t>
            </a:r>
            <a:r>
              <a:rPr lang="en-US" dirty="0" err="1" smtClean="0"/>
              <a:t>files.R</a:t>
            </a:r>
            <a:endParaRPr lang="en-US" dirty="0" smtClean="0"/>
          </a:p>
          <a:p>
            <a:r>
              <a:rPr lang="en-US" dirty="0" smtClean="0"/>
              <a:t>5.b – Predict Late </a:t>
            </a:r>
            <a:r>
              <a:rPr lang="en-US" dirty="0" err="1" smtClean="0"/>
              <a:t>Flights.R</a:t>
            </a:r>
            <a:endParaRPr lang="en-US" dirty="0" smtClean="0"/>
          </a:p>
          <a:p>
            <a:r>
              <a:rPr lang="en-US" dirty="0" smtClean="0"/>
              <a:t>5.c – </a:t>
            </a:r>
            <a:r>
              <a:rPr lang="en-US" dirty="0" smtClean="0"/>
              <a:t>80 </a:t>
            </a:r>
            <a:r>
              <a:rPr lang="en-US" dirty="0" err="1" smtClean="0"/>
              <a:t>pct.R</a:t>
            </a:r>
            <a:endParaRPr lang="en-US" dirty="0" smtClean="0"/>
          </a:p>
          <a:p>
            <a:r>
              <a:rPr lang="en-US" dirty="0" smtClean="0"/>
              <a:t>5.d – </a:t>
            </a:r>
            <a:r>
              <a:rPr lang="en-US" dirty="0" smtClean="0"/>
              <a:t>Down </a:t>
            </a:r>
            <a:r>
              <a:rPr lang="en-US" dirty="0" err="1" smtClean="0"/>
              <a:t>Sample.R</a:t>
            </a:r>
            <a:endParaRPr lang="en-US" dirty="0" smtClean="0"/>
          </a:p>
          <a:p>
            <a:r>
              <a:rPr lang="en-US" dirty="0" smtClean="0"/>
              <a:t>5.e – Data </a:t>
            </a:r>
            <a:r>
              <a:rPr lang="en-US" dirty="0" err="1" smtClean="0"/>
              <a:t>Step.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60A39-4AFD-43E9-A649-069B6F615F5B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1167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Hadoop</a:t>
            </a:r>
            <a:r>
              <a:rPr lang="en-US" dirty="0" smtClean="0"/>
              <a:t> from R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n open </a:t>
            </a:r>
            <a:r>
              <a:rPr lang="en-US" dirty="0"/>
              <a:t>Source Projecthttps://github.com/RevolutionAnalytics/RHadoop/wiki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60A39-4AFD-43E9-A649-069B6F615F5B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548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RHdoo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err="1"/>
              <a:t>RHadoop</a:t>
            </a:r>
            <a:r>
              <a:rPr lang="en-US" dirty="0"/>
              <a:t> is a collection of three R packages that allow users to manage and analyze data with </a:t>
            </a:r>
            <a:r>
              <a:rPr lang="en-US" dirty="0" err="1"/>
              <a:t>Hadoop</a:t>
            </a:r>
            <a:r>
              <a:rPr lang="en-US" dirty="0"/>
              <a:t>. </a:t>
            </a:r>
            <a:endParaRPr lang="en-US" dirty="0" smtClean="0"/>
          </a:p>
          <a:p>
            <a:r>
              <a:rPr lang="en-US" dirty="0" smtClean="0"/>
              <a:t>The </a:t>
            </a:r>
            <a:r>
              <a:rPr lang="en-US" dirty="0"/>
              <a:t>packages have been implemented and tested in </a:t>
            </a:r>
            <a:r>
              <a:rPr lang="en-US" dirty="0" err="1"/>
              <a:t>Cloudera's</a:t>
            </a:r>
            <a:r>
              <a:rPr lang="en-US" dirty="0"/>
              <a:t> distribution of </a:t>
            </a:r>
            <a:r>
              <a:rPr lang="en-US" dirty="0" err="1"/>
              <a:t>Hadoop</a:t>
            </a:r>
            <a:r>
              <a:rPr lang="en-US" dirty="0"/>
              <a:t> </a:t>
            </a:r>
            <a:r>
              <a:rPr lang="en-US" dirty="0">
                <a:hlinkClick r:id="rId2"/>
              </a:rPr>
              <a:t>(CDH3)</a:t>
            </a:r>
            <a:r>
              <a:rPr lang="en-US" dirty="0"/>
              <a:t>. and R </a:t>
            </a:r>
            <a:r>
              <a:rPr lang="en-US" dirty="0" smtClean="0"/>
              <a:t>2.13.0</a:t>
            </a:r>
          </a:p>
          <a:p>
            <a:r>
              <a:rPr lang="en-US" dirty="0" smtClean="0"/>
              <a:t>Full documentation is on </a:t>
            </a:r>
            <a:r>
              <a:rPr lang="en-US" dirty="0" err="1" smtClean="0">
                <a:hlinkClick r:id="rId3"/>
              </a:rPr>
              <a:t>github</a:t>
            </a:r>
            <a:r>
              <a:rPr lang="en-US" dirty="0"/>
              <a:t>  https://github.com/RevolutionAnalytics/RHadoop/wiki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557474-BD8B-F249-B2D0-BC655CC62A50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467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 smtClean="0"/>
              <a:t>RHadoop</a:t>
            </a:r>
            <a:r>
              <a:rPr lang="en-US" dirty="0" smtClean="0"/>
              <a:t> contains the following packag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 err="1" smtClean="0">
                <a:hlinkClick r:id="rId2"/>
              </a:rPr>
              <a:t>rmr</a:t>
            </a:r>
            <a:r>
              <a:rPr lang="en-US" b="1" dirty="0" smtClean="0"/>
              <a:t> </a:t>
            </a:r>
            <a:r>
              <a:rPr lang="en-US" dirty="0" smtClean="0"/>
              <a:t>– </a:t>
            </a:r>
            <a:r>
              <a:rPr lang="en-US" dirty="0" err="1" smtClean="0"/>
              <a:t>prodvides</a:t>
            </a:r>
            <a:r>
              <a:rPr lang="en-US" dirty="0" smtClean="0"/>
              <a:t> </a:t>
            </a:r>
            <a:r>
              <a:rPr lang="en-US" dirty="0" err="1" smtClean="0"/>
              <a:t>Hadoop</a:t>
            </a:r>
            <a:r>
              <a:rPr lang="en-US" dirty="0" smtClean="0"/>
              <a:t> </a:t>
            </a:r>
            <a:r>
              <a:rPr lang="en-US" dirty="0" err="1"/>
              <a:t>MapReduce</a:t>
            </a:r>
            <a:r>
              <a:rPr lang="en-US" dirty="0"/>
              <a:t> functionality in R </a:t>
            </a:r>
            <a:endParaRPr lang="en-US" dirty="0" smtClean="0"/>
          </a:p>
          <a:p>
            <a:r>
              <a:rPr lang="en-US" b="1" dirty="0" err="1" smtClean="0">
                <a:hlinkClick r:id="rId3"/>
              </a:rPr>
              <a:t>rhdfs</a:t>
            </a:r>
            <a:r>
              <a:rPr lang="en-US" b="1" dirty="0" smtClean="0"/>
              <a:t> </a:t>
            </a:r>
            <a:r>
              <a:rPr lang="en-US" dirty="0" smtClean="0"/>
              <a:t>– provides file </a:t>
            </a:r>
            <a:r>
              <a:rPr lang="en-US" dirty="0"/>
              <a:t>management of the HDFS from within R </a:t>
            </a:r>
            <a:endParaRPr lang="en-US" dirty="0" smtClean="0"/>
          </a:p>
          <a:p>
            <a:r>
              <a:rPr lang="en-US" b="1" dirty="0" err="1" smtClean="0">
                <a:hlinkClick r:id="rId4"/>
              </a:rPr>
              <a:t>rhbase</a:t>
            </a:r>
            <a:r>
              <a:rPr lang="en-US" b="1" dirty="0" smtClean="0"/>
              <a:t> </a:t>
            </a:r>
            <a:r>
              <a:rPr lang="en-US" dirty="0" smtClean="0"/>
              <a:t>– provides database </a:t>
            </a:r>
            <a:r>
              <a:rPr lang="en-US" dirty="0"/>
              <a:t>management for the </a:t>
            </a:r>
            <a:r>
              <a:rPr lang="en-US" dirty="0" err="1"/>
              <a:t>HBase</a:t>
            </a:r>
            <a:r>
              <a:rPr lang="en-US" dirty="0"/>
              <a:t> distributed database from within R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557474-BD8B-F249-B2D0-BC655CC62A50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4015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 and </a:t>
            </a:r>
            <a:r>
              <a:rPr lang="en-US" dirty="0" err="1" smtClean="0"/>
              <a:t>Hadoop</a:t>
            </a:r>
            <a:r>
              <a:rPr lang="en-US" dirty="0" smtClean="0"/>
              <a:t> – The R Packag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557474-BD8B-F249-B2D0-BC655CC62A50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5" name="Rounded Rectangle 4"/>
          <p:cNvSpPr/>
          <p:nvPr/>
        </p:nvSpPr>
        <p:spPr>
          <a:xfrm>
            <a:off x="3987800" y="4668520"/>
            <a:ext cx="1066800" cy="533400"/>
          </a:xfrm>
          <a:prstGeom prst="round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R Client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416560" y="2631440"/>
            <a:ext cx="914400" cy="1955800"/>
          </a:xfrm>
          <a:prstGeom prst="round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645160" y="2854960"/>
            <a:ext cx="457200" cy="381000"/>
          </a:xfrm>
          <a:prstGeom prst="round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R</a:t>
            </a:r>
            <a:endParaRPr lang="en-US" dirty="0"/>
          </a:p>
        </p:txBody>
      </p:sp>
      <p:sp>
        <p:nvSpPr>
          <p:cNvPr id="9" name="Rounded Rectangle 8"/>
          <p:cNvSpPr/>
          <p:nvPr/>
        </p:nvSpPr>
        <p:spPr>
          <a:xfrm>
            <a:off x="492760" y="3423920"/>
            <a:ext cx="762000" cy="4572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Map or Reduce</a:t>
            </a:r>
            <a:endParaRPr lang="en-US" sz="1200" dirty="0"/>
          </a:p>
        </p:txBody>
      </p:sp>
      <p:cxnSp>
        <p:nvCxnSpPr>
          <p:cNvPr id="10" name="Straight Arrow Connector 9"/>
          <p:cNvCxnSpPr/>
          <p:nvPr/>
        </p:nvCxnSpPr>
        <p:spPr>
          <a:xfrm flipH="1" flipV="1">
            <a:off x="1452880" y="4246880"/>
            <a:ext cx="467360" cy="690880"/>
          </a:xfrm>
          <a:prstGeom prst="straightConnector1">
            <a:avLst/>
          </a:prstGeom>
          <a:ln>
            <a:solidFill>
              <a:srgbClr val="00B05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 flipV="1">
            <a:off x="1483360" y="2382520"/>
            <a:ext cx="762000" cy="457200"/>
          </a:xfrm>
          <a:prstGeom prst="straightConnector1">
            <a:avLst/>
          </a:prstGeom>
          <a:ln>
            <a:solidFill>
              <a:srgbClr val="00B05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 rot="10800000" flipV="1">
            <a:off x="1483360" y="2687320"/>
            <a:ext cx="762000" cy="457200"/>
          </a:xfrm>
          <a:prstGeom prst="straightConnector1">
            <a:avLst/>
          </a:prstGeom>
          <a:ln>
            <a:solidFill>
              <a:srgbClr val="00B05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2885440" y="4937760"/>
            <a:ext cx="985520" cy="386080"/>
          </a:xfrm>
          <a:prstGeom prst="straightConnector1">
            <a:avLst/>
          </a:prstGeom>
          <a:ln>
            <a:solidFill>
              <a:srgbClr val="0070C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Rounded Rectangle 14"/>
          <p:cNvSpPr/>
          <p:nvPr/>
        </p:nvSpPr>
        <p:spPr>
          <a:xfrm>
            <a:off x="1828800" y="5003800"/>
            <a:ext cx="990600" cy="533400"/>
          </a:xfrm>
          <a:prstGeom prst="round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Job Tracker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92760" y="4023360"/>
            <a:ext cx="762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Task Node</a:t>
            </a:r>
            <a:endParaRPr lang="en-US" sz="1400" dirty="0"/>
          </a:p>
        </p:txBody>
      </p:sp>
      <p:sp>
        <p:nvSpPr>
          <p:cNvPr id="17" name="Rounded Rectangle 16"/>
          <p:cNvSpPr/>
          <p:nvPr/>
        </p:nvSpPr>
        <p:spPr>
          <a:xfrm>
            <a:off x="2321560" y="1620520"/>
            <a:ext cx="914400" cy="1661160"/>
          </a:xfrm>
          <a:prstGeom prst="round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HDFS</a:t>
            </a:r>
            <a:endParaRPr lang="en-US" dirty="0"/>
          </a:p>
        </p:txBody>
      </p:sp>
      <p:cxnSp>
        <p:nvCxnSpPr>
          <p:cNvPr id="20" name="Straight Arrow Connector 19"/>
          <p:cNvCxnSpPr/>
          <p:nvPr/>
        </p:nvCxnSpPr>
        <p:spPr>
          <a:xfrm>
            <a:off x="3098800" y="3454400"/>
            <a:ext cx="1178560" cy="1137920"/>
          </a:xfrm>
          <a:prstGeom prst="straightConnector1">
            <a:avLst/>
          </a:prstGeom>
          <a:ln>
            <a:solidFill>
              <a:srgbClr val="0070C0"/>
            </a:solidFill>
            <a:headEnd type="arrow"/>
            <a:tailEnd type="arrow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21" name="Rounded Rectangle 20"/>
          <p:cNvSpPr/>
          <p:nvPr/>
        </p:nvSpPr>
        <p:spPr>
          <a:xfrm>
            <a:off x="3195320" y="1630680"/>
            <a:ext cx="1143000" cy="695960"/>
          </a:xfrm>
          <a:prstGeom prst="round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HBASE</a:t>
            </a:r>
            <a:endParaRPr lang="en-US" dirty="0"/>
          </a:p>
        </p:txBody>
      </p:sp>
      <p:sp>
        <p:nvSpPr>
          <p:cNvPr id="35" name="Rounded Rectangle 34"/>
          <p:cNvSpPr/>
          <p:nvPr/>
        </p:nvSpPr>
        <p:spPr>
          <a:xfrm>
            <a:off x="3947160" y="2885440"/>
            <a:ext cx="1143000" cy="619760"/>
          </a:xfrm>
          <a:prstGeom prst="round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Thrift</a:t>
            </a:r>
            <a:endParaRPr lang="en-US" dirty="0"/>
          </a:p>
        </p:txBody>
      </p:sp>
      <p:cxnSp>
        <p:nvCxnSpPr>
          <p:cNvPr id="39" name="Straight Arrow Connector 38"/>
          <p:cNvCxnSpPr/>
          <p:nvPr/>
        </p:nvCxnSpPr>
        <p:spPr>
          <a:xfrm flipH="1">
            <a:off x="4521200" y="3616960"/>
            <a:ext cx="254000" cy="975360"/>
          </a:xfrm>
          <a:prstGeom prst="straightConnector1">
            <a:avLst/>
          </a:prstGeom>
          <a:ln>
            <a:solidFill>
              <a:srgbClr val="0070C0"/>
            </a:solidFill>
            <a:headEnd type="arrow"/>
            <a:tailEnd type="arrow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51" name="Straight Arrow Connector 50"/>
          <p:cNvCxnSpPr/>
          <p:nvPr/>
        </p:nvCxnSpPr>
        <p:spPr>
          <a:xfrm>
            <a:off x="3952240" y="2540000"/>
            <a:ext cx="0" cy="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3962400" y="2407920"/>
            <a:ext cx="406400" cy="426720"/>
          </a:xfrm>
          <a:prstGeom prst="straightConnector1">
            <a:avLst/>
          </a:prstGeom>
          <a:ln>
            <a:solidFill>
              <a:srgbClr val="00B050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/>
          <p:cNvSpPr>
            <a:spLocks noGrp="1"/>
          </p:cNvSpPr>
          <p:nvPr>
            <p:ph idx="1"/>
          </p:nvPr>
        </p:nvSpPr>
        <p:spPr>
          <a:xfrm>
            <a:off x="5588001" y="2611120"/>
            <a:ext cx="3403600" cy="1391920"/>
          </a:xfrm>
        </p:spPr>
        <p:txBody>
          <a:bodyPr>
            <a:normAutofit fontScale="77500" lnSpcReduction="20000"/>
          </a:bodyPr>
          <a:lstStyle/>
          <a:p>
            <a:r>
              <a:rPr lang="en-US" dirty="0" err="1" smtClean="0"/>
              <a:t>rhdfs</a:t>
            </a:r>
            <a:r>
              <a:rPr lang="en-US" dirty="0" smtClean="0"/>
              <a:t> - </a:t>
            </a:r>
            <a:r>
              <a:rPr lang="en-US" sz="2600" dirty="0" smtClean="0"/>
              <a:t>R and HDFS</a:t>
            </a:r>
            <a:endParaRPr lang="en-US" sz="3143" dirty="0" smtClean="0">
              <a:latin typeface="Consolas"/>
              <a:cs typeface="Consolas"/>
            </a:endParaRPr>
          </a:p>
          <a:p>
            <a:r>
              <a:rPr lang="en-US" dirty="0" err="1" smtClean="0"/>
              <a:t>rhbase</a:t>
            </a:r>
            <a:r>
              <a:rPr lang="en-US" dirty="0" smtClean="0"/>
              <a:t> - </a:t>
            </a:r>
            <a:r>
              <a:rPr lang="en-US" sz="2600" dirty="0" smtClean="0"/>
              <a:t>R and HBASE</a:t>
            </a:r>
            <a:endParaRPr lang="en-US" dirty="0" smtClean="0">
              <a:latin typeface="Consolas"/>
              <a:cs typeface="Consolas"/>
            </a:endParaRPr>
          </a:p>
          <a:p>
            <a:r>
              <a:rPr lang="en-US" dirty="0" err="1" smtClean="0"/>
              <a:t>rmr</a:t>
            </a:r>
            <a:r>
              <a:rPr lang="en-US" dirty="0" smtClean="0"/>
              <a:t> </a:t>
            </a:r>
            <a:r>
              <a:rPr lang="en-US" sz="2000" dirty="0" smtClean="0"/>
              <a:t>-</a:t>
            </a:r>
            <a:r>
              <a:rPr lang="en-US" sz="2600" dirty="0" smtClean="0"/>
              <a:t> R and </a:t>
            </a:r>
            <a:r>
              <a:rPr lang="en-US" sz="2600" dirty="0" err="1" smtClean="0"/>
              <a:t>MapReduce</a:t>
            </a:r>
            <a:endParaRPr lang="en-US" sz="3243" dirty="0" smtClean="0">
              <a:latin typeface="Consolas"/>
              <a:cs typeface="Consolas"/>
              <a:hlinkClick r:id="rId2"/>
            </a:endParaRPr>
          </a:p>
          <a:p>
            <a:endParaRPr lang="en-US" dirty="0" smtClean="0"/>
          </a:p>
          <a:p>
            <a:pPr>
              <a:buNone/>
            </a:pPr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58" name="Rectangle 57"/>
          <p:cNvSpPr/>
          <p:nvPr/>
        </p:nvSpPr>
        <p:spPr>
          <a:xfrm>
            <a:off x="5232400" y="1591995"/>
            <a:ext cx="372872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en-US" dirty="0" smtClean="0"/>
              <a:t>Capabilities delivered as individual R packages</a:t>
            </a:r>
          </a:p>
        </p:txBody>
      </p:sp>
      <p:sp>
        <p:nvSpPr>
          <p:cNvPr id="72" name="Oval 71"/>
          <p:cNvSpPr/>
          <p:nvPr/>
        </p:nvSpPr>
        <p:spPr>
          <a:xfrm>
            <a:off x="3139440" y="5334000"/>
            <a:ext cx="833120" cy="294640"/>
          </a:xfrm>
          <a:prstGeom prst="ellipse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 err="1" smtClean="0"/>
              <a:t>rmr</a:t>
            </a:r>
            <a:endParaRPr lang="en-US" sz="1400" dirty="0"/>
          </a:p>
        </p:txBody>
      </p:sp>
      <p:sp>
        <p:nvSpPr>
          <p:cNvPr id="73" name="Oval 72"/>
          <p:cNvSpPr/>
          <p:nvPr/>
        </p:nvSpPr>
        <p:spPr>
          <a:xfrm>
            <a:off x="2783840" y="4053840"/>
            <a:ext cx="822960" cy="294640"/>
          </a:xfrm>
          <a:prstGeom prst="ellipse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 err="1" smtClean="0"/>
              <a:t>rhdfs</a:t>
            </a:r>
            <a:endParaRPr lang="en-US" sz="1400" dirty="0"/>
          </a:p>
        </p:txBody>
      </p:sp>
      <p:sp>
        <p:nvSpPr>
          <p:cNvPr id="74" name="Oval 73"/>
          <p:cNvSpPr/>
          <p:nvPr/>
        </p:nvSpPr>
        <p:spPr>
          <a:xfrm>
            <a:off x="4795520" y="3962400"/>
            <a:ext cx="1046480" cy="294640"/>
          </a:xfrm>
          <a:prstGeom prst="ellipse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 err="1" smtClean="0"/>
              <a:t>rhbase</a:t>
            </a:r>
            <a:endParaRPr lang="en-US" sz="1400" dirty="0"/>
          </a:p>
        </p:txBody>
      </p:sp>
      <p:sp>
        <p:nvSpPr>
          <p:cNvPr id="27" name="TextBox 26"/>
          <p:cNvSpPr txBox="1"/>
          <p:nvPr/>
        </p:nvSpPr>
        <p:spPr>
          <a:xfrm>
            <a:off x="5882640" y="4643120"/>
            <a:ext cx="29972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Downloads available from </a:t>
            </a:r>
            <a:r>
              <a:rPr lang="en-US" sz="1600" dirty="0" err="1" smtClean="0">
                <a:hlinkClick r:id="rId3"/>
              </a:rPr>
              <a:t>Github</a:t>
            </a:r>
            <a:r>
              <a:rPr lang="en-US" sz="1600" dirty="0" smtClean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855523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 xmlns:mv="urn:schemas-microsoft-com:mac:vml">
      <mp:transition xmlns:mp="http://schemas.microsoft.com/office/mac/powerpoint/2008/main" spd="slow" advClick="0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Mapreduce</a:t>
            </a:r>
            <a:r>
              <a:rPr lang="en-US" dirty="0" smtClean="0"/>
              <a:t> similar to R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Conceptually, </a:t>
            </a:r>
            <a:r>
              <a:rPr lang="en-US" dirty="0" err="1"/>
              <a:t>mapreduce</a:t>
            </a:r>
            <a:r>
              <a:rPr lang="en-US" dirty="0"/>
              <a:t> is not very different than a combination of </a:t>
            </a:r>
            <a:r>
              <a:rPr lang="en-US" dirty="0" err="1"/>
              <a:t>lapplys</a:t>
            </a:r>
            <a:r>
              <a:rPr lang="en-US" dirty="0"/>
              <a:t> and a </a:t>
            </a:r>
            <a:r>
              <a:rPr lang="en-US" dirty="0" err="1"/>
              <a:t>tapply</a:t>
            </a:r>
            <a:r>
              <a:rPr lang="en-US" dirty="0" smtClean="0"/>
              <a:t>:</a:t>
            </a:r>
          </a:p>
          <a:p>
            <a:pPr marL="0" indent="0">
              <a:buNone/>
            </a:pPr>
            <a:endParaRPr lang="en-US" dirty="0" smtClean="0"/>
          </a:p>
          <a:p>
            <a:r>
              <a:rPr lang="en-US" dirty="0"/>
              <a:t>T</a:t>
            </a:r>
            <a:r>
              <a:rPr lang="en-US" dirty="0" smtClean="0"/>
              <a:t>ransform </a:t>
            </a:r>
            <a:r>
              <a:rPr lang="en-US" dirty="0"/>
              <a:t>elements of a </a:t>
            </a:r>
            <a:r>
              <a:rPr lang="en-US" dirty="0" smtClean="0"/>
              <a:t>list </a:t>
            </a:r>
          </a:p>
          <a:p>
            <a:r>
              <a:rPr lang="en-US" dirty="0"/>
              <a:t>C</a:t>
            </a:r>
            <a:r>
              <a:rPr lang="en-US" dirty="0" smtClean="0"/>
              <a:t>ompute </a:t>
            </a:r>
            <a:r>
              <a:rPr lang="en-US" dirty="0"/>
              <a:t>an </a:t>
            </a:r>
            <a:r>
              <a:rPr lang="en-US" dirty="0" smtClean="0"/>
              <a:t>index / key </a:t>
            </a:r>
            <a:r>
              <a:rPr lang="en-US" dirty="0"/>
              <a:t>(</a:t>
            </a:r>
            <a:r>
              <a:rPr lang="en-US" dirty="0" err="1" smtClean="0"/>
              <a:t>mapreduce</a:t>
            </a:r>
            <a:r>
              <a:rPr lang="en-US" dirty="0" smtClean="0"/>
              <a:t> jargon)</a:t>
            </a:r>
            <a:endParaRPr lang="en-US" dirty="0"/>
          </a:p>
          <a:p>
            <a:r>
              <a:rPr lang="en-US" dirty="0"/>
              <a:t>P</a:t>
            </a:r>
            <a:r>
              <a:rPr lang="en-US" dirty="0" smtClean="0"/>
              <a:t>rocess </a:t>
            </a:r>
            <a:r>
              <a:rPr lang="en-US" dirty="0"/>
              <a:t>the groups thus defined. 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557474-BD8B-F249-B2D0-BC655CC62A50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5765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rst </a:t>
            </a:r>
            <a:r>
              <a:rPr lang="en-US" dirty="0" err="1" smtClean="0"/>
              <a:t>Mapreduce</a:t>
            </a:r>
            <a:r>
              <a:rPr lang="en-US" dirty="0" smtClean="0"/>
              <a:t> Job (Map step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R code doing similar process</a:t>
            </a:r>
          </a:p>
          <a:p>
            <a:pPr marL="800100" lvl="2" indent="0">
              <a:buNone/>
            </a:pPr>
            <a:r>
              <a:rPr lang="en-US" dirty="0" err="1" smtClean="0"/>
              <a:t>small.ints</a:t>
            </a:r>
            <a:r>
              <a:rPr lang="en-US" dirty="0" smtClean="0"/>
              <a:t> </a:t>
            </a:r>
            <a:r>
              <a:rPr lang="en-US" dirty="0"/>
              <a:t>= 1:10 </a:t>
            </a:r>
            <a:endParaRPr lang="en-US" dirty="0" smtClean="0"/>
          </a:p>
          <a:p>
            <a:pPr marL="800100" lvl="2" indent="0">
              <a:buNone/>
            </a:pPr>
            <a:r>
              <a:rPr lang="en-US" dirty="0" smtClean="0"/>
              <a:t>out </a:t>
            </a:r>
            <a:r>
              <a:rPr lang="en-US" dirty="0"/>
              <a:t>= </a:t>
            </a:r>
            <a:r>
              <a:rPr lang="en-US" dirty="0" err="1"/>
              <a:t>lapply</a:t>
            </a:r>
            <a:r>
              <a:rPr lang="en-US" dirty="0"/>
              <a:t>(</a:t>
            </a:r>
            <a:r>
              <a:rPr lang="en-US" dirty="0" err="1"/>
              <a:t>small.ints</a:t>
            </a:r>
            <a:r>
              <a:rPr lang="en-US" dirty="0"/>
              <a:t>, function(x) x^2) </a:t>
            </a:r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r>
              <a:rPr lang="en-US" dirty="0" smtClean="0"/>
              <a:t>R code for </a:t>
            </a:r>
            <a:r>
              <a:rPr lang="en-US" dirty="0" err="1" smtClean="0"/>
              <a:t>Mapreduce</a:t>
            </a:r>
            <a:r>
              <a:rPr lang="en-US" dirty="0" smtClean="0"/>
              <a:t> job</a:t>
            </a:r>
          </a:p>
          <a:p>
            <a:pPr marL="800100" lvl="2" indent="0">
              <a:buNone/>
            </a:pPr>
            <a:r>
              <a:rPr lang="en-US" dirty="0" err="1" smtClean="0"/>
              <a:t>small.ints</a:t>
            </a:r>
            <a:r>
              <a:rPr lang="en-US" dirty="0" smtClean="0"/>
              <a:t> </a:t>
            </a:r>
            <a:r>
              <a:rPr lang="en-US" dirty="0"/>
              <a:t>= </a:t>
            </a:r>
            <a:r>
              <a:rPr lang="en-US" dirty="0" err="1"/>
              <a:t>to.dfs</a:t>
            </a:r>
            <a:r>
              <a:rPr lang="en-US" dirty="0"/>
              <a:t>(1:10) </a:t>
            </a:r>
            <a:endParaRPr lang="en-US" dirty="0" smtClean="0"/>
          </a:p>
          <a:p>
            <a:pPr marL="800100" lvl="2" indent="0">
              <a:buNone/>
            </a:pPr>
            <a:r>
              <a:rPr lang="en-US" dirty="0" smtClean="0"/>
              <a:t>out </a:t>
            </a:r>
            <a:r>
              <a:rPr lang="en-US" dirty="0"/>
              <a:t>= </a:t>
            </a:r>
            <a:r>
              <a:rPr lang="en-US" dirty="0" err="1"/>
              <a:t>mapreduce</a:t>
            </a:r>
            <a:r>
              <a:rPr lang="en-US" dirty="0"/>
              <a:t>(input = </a:t>
            </a:r>
            <a:r>
              <a:rPr lang="en-US" dirty="0" err="1"/>
              <a:t>small.ints</a:t>
            </a:r>
            <a:r>
              <a:rPr lang="en-US" dirty="0"/>
              <a:t>, map = function(</a:t>
            </a:r>
            <a:r>
              <a:rPr lang="en-US" dirty="0" err="1"/>
              <a:t>k,v</a:t>
            </a:r>
            <a:r>
              <a:rPr lang="en-US" dirty="0"/>
              <a:t>) </a:t>
            </a:r>
            <a:r>
              <a:rPr lang="en-US" dirty="0" err="1"/>
              <a:t>keyval</a:t>
            </a:r>
            <a:r>
              <a:rPr lang="en-US" dirty="0"/>
              <a:t>(v, v^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557474-BD8B-F249-B2D0-BC655CC62A50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4190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tput from Map ste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The return value is an </a:t>
            </a:r>
            <a:r>
              <a:rPr lang="en-US" dirty="0" smtClean="0"/>
              <a:t>object (actually </a:t>
            </a:r>
            <a:r>
              <a:rPr lang="en-US" dirty="0"/>
              <a:t>a </a:t>
            </a:r>
            <a:r>
              <a:rPr lang="en-US" dirty="0" smtClean="0"/>
              <a:t>closure</a:t>
            </a:r>
            <a:r>
              <a:rPr lang="en-US" dirty="0"/>
              <a:t>)</a:t>
            </a:r>
            <a:endParaRPr lang="en-US" dirty="0" smtClean="0"/>
          </a:p>
          <a:p>
            <a:pPr lvl="1"/>
            <a:r>
              <a:rPr lang="en-US" dirty="0" smtClean="0"/>
              <a:t>can </a:t>
            </a:r>
            <a:r>
              <a:rPr lang="en-US" dirty="0"/>
              <a:t>pass it as input to other jobs </a:t>
            </a:r>
          </a:p>
          <a:p>
            <a:pPr lvl="1"/>
            <a:r>
              <a:rPr lang="en-US" dirty="0" smtClean="0"/>
              <a:t>read </a:t>
            </a:r>
            <a:r>
              <a:rPr lang="en-US" dirty="0"/>
              <a:t>it into </a:t>
            </a:r>
            <a:r>
              <a:rPr lang="en-US" dirty="0" smtClean="0"/>
              <a:t>memory with </a:t>
            </a:r>
            <a:r>
              <a:rPr lang="en-US" dirty="0" err="1" smtClean="0"/>
              <a:t>from.dfs</a:t>
            </a:r>
            <a:r>
              <a:rPr lang="en-US" dirty="0" smtClean="0"/>
              <a:t> </a:t>
            </a:r>
          </a:p>
          <a:p>
            <a:r>
              <a:rPr lang="en-US" dirty="0" err="1" smtClean="0"/>
              <a:t>from.dfs</a:t>
            </a:r>
            <a:r>
              <a:rPr lang="en-US" dirty="0" smtClean="0"/>
              <a:t> </a:t>
            </a:r>
            <a:r>
              <a:rPr lang="en-US" dirty="0"/>
              <a:t>is the dual of </a:t>
            </a:r>
            <a:r>
              <a:rPr lang="en-US" dirty="0" err="1" smtClean="0"/>
              <a:t>to.dfs</a:t>
            </a:r>
            <a:r>
              <a:rPr lang="en-US" dirty="0" smtClean="0"/>
              <a:t> </a:t>
            </a:r>
            <a:endParaRPr lang="en-US" dirty="0"/>
          </a:p>
          <a:p>
            <a:pPr lvl="1"/>
            <a:r>
              <a:rPr lang="en-US" dirty="0" smtClean="0"/>
              <a:t>returns </a:t>
            </a:r>
            <a:r>
              <a:rPr lang="en-US" dirty="0"/>
              <a:t>a list of key value pairs, </a:t>
            </a:r>
          </a:p>
          <a:p>
            <a:pPr lvl="1"/>
            <a:r>
              <a:rPr lang="en-US" dirty="0" smtClean="0"/>
              <a:t>useful </a:t>
            </a:r>
            <a:r>
              <a:rPr lang="en-US" dirty="0"/>
              <a:t>in defining practical map reduce algorithms whenever a </a:t>
            </a:r>
            <a:r>
              <a:rPr lang="en-US" dirty="0" err="1"/>
              <a:t>mapreduce</a:t>
            </a:r>
            <a:r>
              <a:rPr lang="en-US" dirty="0"/>
              <a:t> job produces something of reasonable </a:t>
            </a:r>
            <a:r>
              <a:rPr lang="en-US" dirty="0" smtClean="0"/>
              <a:t>siz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557474-BD8B-F249-B2D0-BC655CC62A50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6502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R Languag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R History and Organiza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60A39-4AFD-43E9-A649-069B6F615F5B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6743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ere to go from here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More than code, R is a community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60A39-4AFD-43E9-A649-069B6F615F5B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1637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Look at some more sophisticated exampl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dirty="0" smtClean="0"/>
              <a:t>Thomson Nguyen on the </a:t>
            </a:r>
            <a:r>
              <a:rPr lang="en-US" sz="2400" dirty="0" smtClean="0">
                <a:hlinkClick r:id="rId2"/>
              </a:rPr>
              <a:t>Heritage Health Prize</a:t>
            </a:r>
            <a:endParaRPr lang="en-US" sz="2400" dirty="0" smtClean="0"/>
          </a:p>
          <a:p>
            <a:r>
              <a:rPr lang="en-US" sz="2400" dirty="0" smtClean="0"/>
              <a:t>Shannon Terry &amp; Ben </a:t>
            </a:r>
            <a:r>
              <a:rPr lang="en-US" sz="2400" dirty="0" err="1" smtClean="0"/>
              <a:t>Ogorek</a:t>
            </a:r>
            <a:r>
              <a:rPr lang="en-US" sz="2400" dirty="0" smtClean="0"/>
              <a:t> (Nationwide Insurance):        </a:t>
            </a:r>
            <a:r>
              <a:rPr lang="en-US" sz="2400" dirty="0" smtClean="0">
                <a:hlinkClick r:id="rId3"/>
              </a:rPr>
              <a:t>A Direct Marketing In-Flight Forecasting System</a:t>
            </a:r>
            <a:endParaRPr lang="en-US" sz="2400" dirty="0" smtClean="0"/>
          </a:p>
          <a:p>
            <a:r>
              <a:rPr lang="en-US" sz="2400" dirty="0" smtClean="0"/>
              <a:t>Jeffrey Breen:                                                                </a:t>
            </a:r>
            <a:r>
              <a:rPr lang="en-US" sz="2400" dirty="0" smtClean="0">
                <a:hlinkClick r:id="rId4"/>
              </a:rPr>
              <a:t>Mining Twitter for Airline Consumer Sentiment</a:t>
            </a:r>
            <a:endParaRPr lang="en-US" sz="2400" dirty="0" smtClean="0"/>
          </a:p>
          <a:p>
            <a:r>
              <a:rPr lang="en-US" sz="2400" dirty="0" smtClean="0"/>
              <a:t>Joe </a:t>
            </a:r>
            <a:r>
              <a:rPr lang="en-US" sz="2400" dirty="0" err="1" smtClean="0"/>
              <a:t>Rothermich</a:t>
            </a:r>
            <a:r>
              <a:rPr lang="en-US" sz="2400" dirty="0" smtClean="0"/>
              <a:t>: </a:t>
            </a:r>
            <a:r>
              <a:rPr lang="en-US" sz="2400" dirty="0" smtClean="0">
                <a:hlinkClick r:id="rId5"/>
              </a:rPr>
              <a:t>Alternative Data Sources for Measuring Market Sentiment and Events (</a:t>
            </a:r>
            <a:r>
              <a:rPr lang="en-US" sz="2500" dirty="0" smtClean="0">
                <a:hlinkClick r:id="rId5"/>
              </a:rPr>
              <a:t>Using</a:t>
            </a:r>
            <a:r>
              <a:rPr lang="en-US" sz="2400" dirty="0" smtClean="0">
                <a:hlinkClick r:id="rId5"/>
              </a:rPr>
              <a:t> R)</a:t>
            </a:r>
            <a:endParaRPr lang="en-US" sz="2400" dirty="0" smtClean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60A39-4AFD-43E9-A649-069B6F615F5B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6848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inue to learn 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n-US" dirty="0" err="1"/>
              <a:t>RevoJoe</a:t>
            </a:r>
            <a:r>
              <a:rPr lang="en-US" dirty="0"/>
              <a:t>: </a:t>
            </a:r>
            <a:r>
              <a:rPr lang="en-US" dirty="0">
                <a:hlinkClick r:id="rId2"/>
              </a:rPr>
              <a:t>How to Learn </a:t>
            </a:r>
            <a:r>
              <a:rPr lang="en-US" dirty="0" smtClean="0">
                <a:hlinkClick r:id="rId2"/>
              </a:rPr>
              <a:t>R</a:t>
            </a:r>
            <a:endParaRPr lang="en-US" dirty="0" smtClean="0">
              <a:hlinkClick r:id="rId3"/>
            </a:endParaRPr>
          </a:p>
          <a:p>
            <a:r>
              <a:rPr lang="en-US" dirty="0" smtClean="0"/>
              <a:t>R Documentation</a:t>
            </a:r>
            <a:endParaRPr lang="en-US" dirty="0" smtClean="0">
              <a:hlinkClick r:id="rId3"/>
            </a:endParaRPr>
          </a:p>
          <a:p>
            <a:pPr lvl="1"/>
            <a:r>
              <a:rPr lang="en-US" dirty="0" smtClean="0">
                <a:hlinkClick r:id="rId3"/>
              </a:rPr>
              <a:t>Task Views</a:t>
            </a:r>
            <a:endParaRPr lang="en-US" dirty="0" smtClean="0"/>
          </a:p>
          <a:p>
            <a:pPr lvl="1"/>
            <a:r>
              <a:rPr lang="en-US" dirty="0" smtClean="0">
                <a:hlinkClick r:id="rId4"/>
              </a:rPr>
              <a:t>Machine Learning &amp; Statistical Learning</a:t>
            </a:r>
            <a:endParaRPr lang="en-US" dirty="0" smtClean="0"/>
          </a:p>
          <a:p>
            <a:pPr lvl="1"/>
            <a:r>
              <a:rPr lang="en-US" dirty="0" smtClean="0">
                <a:hlinkClick r:id="rId5"/>
              </a:rPr>
              <a:t>R Package Documentation</a:t>
            </a:r>
            <a:endParaRPr lang="en-US" dirty="0" smtClean="0"/>
          </a:p>
          <a:p>
            <a:pPr lvl="1"/>
            <a:r>
              <a:rPr lang="en-US" dirty="0" smtClean="0">
                <a:hlinkClick r:id="rId6"/>
              </a:rPr>
              <a:t>The R Journal</a:t>
            </a:r>
            <a:endParaRPr lang="en-US" dirty="0" smtClean="0"/>
          </a:p>
          <a:p>
            <a:pPr lvl="1"/>
            <a:r>
              <a:rPr lang="en-US" dirty="0" smtClean="0">
                <a:hlinkClick r:id="rId7"/>
              </a:rPr>
              <a:t>Books</a:t>
            </a:r>
            <a:endParaRPr lang="en-US" dirty="0" smtClean="0"/>
          </a:p>
          <a:p>
            <a:pPr lvl="1"/>
            <a:r>
              <a:rPr lang="en-US" dirty="0" smtClean="0">
                <a:hlinkClick r:id="rId8"/>
              </a:rPr>
              <a:t>Reference Card</a:t>
            </a:r>
            <a:r>
              <a:rPr lang="en-US" dirty="0" smtClean="0"/>
              <a:t> and </a:t>
            </a:r>
            <a:r>
              <a:rPr lang="en-US" dirty="0" smtClean="0">
                <a:hlinkClick r:id="rId9"/>
              </a:rPr>
              <a:t>more</a:t>
            </a:r>
            <a:endParaRPr lang="en-US" dirty="0" smtClean="0"/>
          </a:p>
          <a:p>
            <a:r>
              <a:rPr lang="en-US" dirty="0" smtClean="0"/>
              <a:t>Some helpful places on the Web</a:t>
            </a:r>
          </a:p>
          <a:p>
            <a:pPr lvl="1"/>
            <a:r>
              <a:rPr lang="en-US" dirty="0" smtClean="0">
                <a:hlinkClick r:id="rId10"/>
              </a:rPr>
              <a:t>The Revolutions Blog</a:t>
            </a:r>
            <a:endParaRPr lang="en-US" dirty="0" smtClean="0"/>
          </a:p>
          <a:p>
            <a:pPr lvl="1"/>
            <a:r>
              <a:rPr lang="en-US" dirty="0" smtClean="0">
                <a:hlinkClick r:id="rId11"/>
              </a:rPr>
              <a:t>Inside-R.org</a:t>
            </a:r>
            <a:endParaRPr lang="en-US" dirty="0" smtClean="0"/>
          </a:p>
          <a:p>
            <a:pPr lvl="1"/>
            <a:r>
              <a:rPr lang="en-US" dirty="0" smtClean="0"/>
              <a:t>Rob </a:t>
            </a:r>
            <a:r>
              <a:rPr lang="en-US" dirty="0" err="1" smtClean="0"/>
              <a:t>Kabacoff</a:t>
            </a:r>
            <a:r>
              <a:rPr lang="en-US" dirty="0" smtClean="0"/>
              <a:t>: </a:t>
            </a:r>
            <a:r>
              <a:rPr lang="en-US" dirty="0" smtClean="0">
                <a:hlinkClick r:id="rId12"/>
              </a:rPr>
              <a:t>Quick-R</a:t>
            </a:r>
            <a:endParaRPr lang="en-US" dirty="0" smtClean="0"/>
          </a:p>
          <a:p>
            <a:pPr lvl="1"/>
            <a:r>
              <a:rPr lang="en-US" dirty="0" smtClean="0">
                <a:hlinkClick r:id="rId11"/>
              </a:rPr>
              <a:t>Some Web Resources</a:t>
            </a:r>
            <a:endParaRPr lang="en-US" dirty="0" smtClean="0"/>
          </a:p>
          <a:p>
            <a:pPr lvl="1"/>
            <a:r>
              <a:rPr lang="en-US" dirty="0" smtClean="0">
                <a:hlinkClick r:id="rId13"/>
              </a:rPr>
              <a:t>RDataMining.com</a:t>
            </a:r>
            <a:endParaRPr lang="en-US" dirty="0" smtClean="0"/>
          </a:p>
          <a:p>
            <a:pPr lvl="1"/>
            <a:r>
              <a:rPr lang="en-US" dirty="0" err="1" smtClean="0">
                <a:hlinkClick r:id="rId14"/>
              </a:rPr>
              <a:t>ReadWrite</a:t>
            </a:r>
            <a:r>
              <a:rPr lang="en-US" dirty="0" smtClean="0">
                <a:hlinkClick r:id="rId14"/>
              </a:rPr>
              <a:t> Hack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60A39-4AFD-43E9-A649-069B6F615F5B}" type="slidenum">
              <a:rPr lang="en-US" smtClean="0"/>
              <a:pPr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0108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nter a Competi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24200" y="2667000"/>
            <a:ext cx="4038600" cy="16764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6600" dirty="0" err="1" smtClean="0">
                <a:solidFill>
                  <a:schemeClr val="accent3">
                    <a:lumMod val="60000"/>
                    <a:lumOff val="40000"/>
                  </a:schemeClr>
                </a:solidFill>
                <a:hlinkClick r:id="rId2"/>
              </a:rPr>
              <a:t>kaggle</a:t>
            </a:r>
            <a:endParaRPr lang="en-US" sz="6600" dirty="0">
              <a:solidFill>
                <a:schemeClr val="accent3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60A39-4AFD-43E9-A649-069B6F615F5B}" type="slidenum">
              <a:rPr lang="en-US" smtClean="0"/>
              <a:pPr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8215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t involved with the R Communi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709" y="1339238"/>
            <a:ext cx="4922891" cy="4922488"/>
          </a:xfrm>
        </p:spPr>
        <p:txBody>
          <a:bodyPr/>
          <a:lstStyle/>
          <a:p>
            <a:r>
              <a:rPr lang="en-US" dirty="0" smtClean="0">
                <a:hlinkClick r:id="rId2"/>
              </a:rPr>
              <a:t>Bay Area R User Group</a:t>
            </a:r>
            <a:endParaRPr lang="en-US" dirty="0" smtClean="0"/>
          </a:p>
          <a:p>
            <a:r>
              <a:rPr lang="en-US" dirty="0" smtClean="0">
                <a:hlinkClick r:id="rId3"/>
              </a:rPr>
              <a:t>Find user groups around the world</a:t>
            </a:r>
            <a:endParaRPr lang="en-US" dirty="0" smtClean="0"/>
          </a:p>
          <a:p>
            <a:r>
              <a:rPr lang="en-US" dirty="0" smtClean="0">
                <a:hlinkClick r:id="rId4"/>
              </a:rPr>
              <a:t>Attend </a:t>
            </a:r>
            <a:r>
              <a:rPr lang="en-US" dirty="0" err="1" smtClean="0">
                <a:hlinkClick r:id="rId4"/>
              </a:rPr>
              <a:t>User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60A39-4AFD-43E9-A649-069B6F615F5B}" type="slidenum">
              <a:rPr lang="en-US" smtClean="0"/>
              <a:pPr/>
              <a:t>34</a:t>
            </a:fld>
            <a:endParaRPr lang="en-US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8800" y="1600200"/>
            <a:ext cx="2399384" cy="182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55396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60A39-4AFD-43E9-A649-069B6F615F5B}" type="slidenum">
              <a:rPr lang="en-US" smtClean="0"/>
              <a:pPr/>
              <a:t>35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2600" y="196238"/>
            <a:ext cx="7137590" cy="932715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the premier language for statistics and statistical computing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709" y="1339238"/>
            <a:ext cx="4160891" cy="4922488"/>
          </a:xfrm>
        </p:spPr>
        <p:txBody>
          <a:bodyPr>
            <a:normAutofit fontScale="92500" lnSpcReduction="20000"/>
          </a:bodyPr>
          <a:lstStyle/>
          <a:p>
            <a:r>
              <a:rPr lang="en-US" sz="2700" dirty="0" smtClean="0"/>
              <a:t>R is an open source (</a:t>
            </a:r>
            <a:r>
              <a:rPr lang="en-US" sz="2700" dirty="0" smtClean="0">
                <a:hlinkClick r:id="rId3"/>
              </a:rPr>
              <a:t>GNU</a:t>
            </a:r>
            <a:r>
              <a:rPr lang="en-US" sz="2700" dirty="0" smtClean="0"/>
              <a:t>) version of the S language developed by </a:t>
            </a:r>
            <a:r>
              <a:rPr lang="en-US" sz="2700" dirty="0" smtClean="0">
                <a:hlinkClick r:id="rId4"/>
              </a:rPr>
              <a:t>John Chambers </a:t>
            </a:r>
            <a:r>
              <a:rPr lang="en-US" sz="2700" i="1" dirty="0" smtClean="0"/>
              <a:t>et al. at Bell Labs in 80’s </a:t>
            </a:r>
            <a:r>
              <a:rPr lang="en-US" sz="2700" i="1" dirty="0" smtClean="0">
                <a:hlinkClick r:id="rId5"/>
              </a:rPr>
              <a:t>History of R</a:t>
            </a:r>
            <a:r>
              <a:rPr lang="en-US" sz="2700" i="1" dirty="0" smtClean="0"/>
              <a:t>, </a:t>
            </a:r>
            <a:r>
              <a:rPr lang="en-US" sz="2700" i="1" dirty="0" smtClean="0">
                <a:hlinkClick r:id="rId6"/>
              </a:rPr>
              <a:t>Genesis</a:t>
            </a:r>
            <a:endParaRPr lang="en-US" sz="2700" i="1" dirty="0" smtClean="0"/>
          </a:p>
          <a:p>
            <a:endParaRPr lang="en-US" sz="2700" i="1" dirty="0" smtClean="0"/>
          </a:p>
          <a:p>
            <a:r>
              <a:rPr lang="en-US" sz="2700" dirty="0" smtClean="0"/>
              <a:t>R was initially written in early 1990’s by </a:t>
            </a:r>
            <a:r>
              <a:rPr lang="en-US" sz="2700" i="1" dirty="0" smtClean="0">
                <a:hlinkClick r:id="rId7"/>
              </a:rPr>
              <a:t>Robert Gentleman</a:t>
            </a:r>
            <a:r>
              <a:rPr lang="en-US" sz="2700" i="1" dirty="0" smtClean="0"/>
              <a:t> and </a:t>
            </a:r>
            <a:r>
              <a:rPr lang="en-US" sz="2700" i="1" dirty="0" smtClean="0">
                <a:hlinkClick r:id="rId8"/>
              </a:rPr>
              <a:t>Ross Ihaka </a:t>
            </a:r>
            <a:r>
              <a:rPr lang="en-US" sz="2700" i="1" dirty="0" smtClean="0"/>
              <a:t>then with the </a:t>
            </a:r>
            <a:r>
              <a:rPr lang="en-US" sz="2700" dirty="0" smtClean="0"/>
              <a:t>Statistics Department of the University of Auckland</a:t>
            </a: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60A39-4AFD-43E9-A649-069B6F615F5B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516" y="304800"/>
            <a:ext cx="952500" cy="723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7" descr="nyt2.png"/>
          <p:cNvPicPr>
            <a:picLocks noChangeAspect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265248" y="2209800"/>
            <a:ext cx="4423504" cy="3108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6" descr="nyt1.png"/>
          <p:cNvPicPr>
            <a:picLocks noChangeAspect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4265248" y="1371600"/>
            <a:ext cx="4423504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692241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2600" y="196238"/>
            <a:ext cx="7137590" cy="932715"/>
          </a:xfrm>
        </p:spPr>
        <p:txBody>
          <a:bodyPr/>
          <a:lstStyle/>
          <a:p>
            <a:r>
              <a:rPr lang="en-US" dirty="0" smtClean="0"/>
              <a:t>An Open Source Projec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ince 1997 a </a:t>
            </a:r>
            <a:r>
              <a:rPr lang="en-US" dirty="0">
                <a:hlinkClick r:id="rId2"/>
              </a:rPr>
              <a:t>core group </a:t>
            </a:r>
            <a:r>
              <a:rPr lang="en-US" dirty="0"/>
              <a:t>of ~ 20 developers guides the evolution of the language</a:t>
            </a:r>
          </a:p>
          <a:p>
            <a:r>
              <a:rPr lang="en-US" dirty="0"/>
              <a:t>R is administered and controlled by the </a:t>
            </a:r>
            <a:r>
              <a:rPr lang="en-US" dirty="0">
                <a:hlinkClick r:id="rId3"/>
              </a:rPr>
              <a:t>R Foundation</a:t>
            </a:r>
            <a:endParaRPr lang="en-US" dirty="0"/>
          </a:p>
          <a:p>
            <a:r>
              <a:rPr lang="en-US" dirty="0"/>
              <a:t>The </a:t>
            </a:r>
            <a:r>
              <a:rPr lang="en-US" dirty="0">
                <a:hlinkClick r:id="rId4"/>
              </a:rPr>
              <a:t>r-project</a:t>
            </a:r>
            <a:r>
              <a:rPr lang="en-US" dirty="0"/>
              <a:t> is the place to </a:t>
            </a:r>
            <a:r>
              <a:rPr lang="en-US" dirty="0" smtClean="0"/>
              <a:t>start</a:t>
            </a:r>
          </a:p>
          <a:p>
            <a:r>
              <a:rPr lang="en-US" dirty="0" smtClean="0"/>
              <a:t>The </a:t>
            </a:r>
            <a:r>
              <a:rPr lang="en-US" dirty="0" smtClean="0">
                <a:hlinkClick r:id="rId5"/>
              </a:rPr>
              <a:t>R ecosystem </a:t>
            </a:r>
            <a:r>
              <a:rPr lang="en-US" dirty="0" smtClean="0"/>
              <a:t>is extensive</a:t>
            </a:r>
            <a:endParaRPr lang="en-US" dirty="0"/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60A39-4AFD-43E9-A649-069B6F615F5B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516" y="304800"/>
            <a:ext cx="952500" cy="723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81975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R is organize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R functions are organized into libraries called packages</a:t>
            </a:r>
          </a:p>
          <a:p>
            <a:r>
              <a:rPr lang="en-US" dirty="0" smtClean="0"/>
              <a:t>The </a:t>
            </a:r>
            <a:r>
              <a:rPr lang="en-US" dirty="0" smtClean="0">
                <a:hlinkClick r:id="rId2"/>
              </a:rPr>
              <a:t>download</a:t>
            </a:r>
            <a:r>
              <a:rPr lang="en-US" dirty="0" smtClean="0"/>
              <a:t> of R contains the </a:t>
            </a:r>
            <a:r>
              <a:rPr lang="en-US" dirty="0" smtClean="0">
                <a:hlinkClick r:id="rId3"/>
              </a:rPr>
              <a:t>base</a:t>
            </a:r>
            <a:r>
              <a:rPr lang="en-US" dirty="0" smtClean="0"/>
              <a:t> and </a:t>
            </a:r>
            <a:r>
              <a:rPr lang="en-US" dirty="0" smtClean="0">
                <a:hlinkClick r:id="rId4"/>
              </a:rPr>
              <a:t>recommended packages</a:t>
            </a:r>
            <a:endParaRPr lang="en-US" dirty="0" smtClean="0"/>
          </a:p>
          <a:p>
            <a:r>
              <a:rPr lang="en-US" dirty="0" smtClean="0">
                <a:hlinkClick r:id="rId5"/>
              </a:rPr>
              <a:t>User contributed packages </a:t>
            </a:r>
            <a:r>
              <a:rPr lang="en-US" dirty="0" smtClean="0"/>
              <a:t>are accessible through </a:t>
            </a:r>
            <a:r>
              <a:rPr lang="en-US" dirty="0" smtClean="0">
                <a:hlinkClick r:id="rId6"/>
              </a:rPr>
              <a:t>CRAN</a:t>
            </a:r>
            <a:r>
              <a:rPr lang="en-US" dirty="0" smtClean="0"/>
              <a:t>, </a:t>
            </a:r>
            <a:r>
              <a:rPr lang="en-US" dirty="0" err="1" smtClean="0">
                <a:hlinkClick r:id="rId7"/>
              </a:rPr>
              <a:t>debian</a:t>
            </a:r>
            <a:r>
              <a:rPr lang="en-US" dirty="0" smtClean="0"/>
              <a:t>, </a:t>
            </a:r>
            <a:r>
              <a:rPr lang="en-US" dirty="0" err="1" smtClean="0"/>
              <a:t>SourceForge</a:t>
            </a:r>
            <a:r>
              <a:rPr lang="en-US" dirty="0" smtClean="0"/>
              <a:t>, </a:t>
            </a:r>
            <a:r>
              <a:rPr lang="en-US" dirty="0" err="1" smtClean="0"/>
              <a:t>github</a:t>
            </a:r>
            <a:r>
              <a:rPr lang="en-US" dirty="0" smtClean="0"/>
              <a:t> and elsewher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60A39-4AFD-43E9-A649-069B6F615F5B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447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7" name="think-cell Slide" r:id="rId39" imgW="0" imgH="0" progId="TCLayout.ActiveDocument.1">
                  <p:embed/>
                </p:oleObj>
              </mc:Choice>
              <mc:Fallback>
                <p:oleObj name="think-cell Slide" r:id="rId39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  <a:tileRect/>
          </a:gra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>
              <a:latin typeface="Arial"/>
              <a:cs typeface="Arial"/>
              <a:sym typeface="Arial"/>
            </a:endParaRPr>
          </a:p>
        </p:txBody>
      </p:sp>
      <p:sp>
        <p:nvSpPr>
          <p:cNvPr id="96" name="Rectangle 95"/>
          <p:cNvSpPr/>
          <p:nvPr>
            <p:custDataLst>
              <p:tags r:id="rId4"/>
            </p:custDataLst>
          </p:nvPr>
        </p:nvSpPr>
        <p:spPr>
          <a:xfrm>
            <a:off x="228600" y="1128953"/>
            <a:ext cx="8686800" cy="513295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10000"/>
                </a:schemeClr>
              </a:gs>
              <a:gs pos="100000">
                <a:srgbClr val="F3F3F3"/>
              </a:gs>
            </a:gsLst>
            <a:lin ang="54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1665287" y="196238"/>
            <a:ext cx="7224903" cy="800869"/>
          </a:xfrm>
        </p:spPr>
        <p:txBody>
          <a:bodyPr>
            <a:normAutofit/>
          </a:bodyPr>
          <a:lstStyle/>
          <a:p>
            <a:r>
              <a:rPr lang="en-US" dirty="0" smtClean="0"/>
              <a:t>Exponential Growth</a:t>
            </a:r>
            <a:endParaRPr lang="en-US" dirty="0"/>
          </a:p>
        </p:txBody>
      </p:sp>
      <p:sp>
        <p:nvSpPr>
          <p:cNvPr id="115" name="Slide Number Placeholder 114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F2F9F88F-67E2-4488-8B66-5AAA72CDF804}" type="slidenum">
              <a:rPr lang="en-US" smtClean="0"/>
              <a:pPr/>
              <a:t>7</a:t>
            </a:fld>
            <a:endParaRPr lang="en-US"/>
          </a:p>
        </p:txBody>
      </p:sp>
      <p:graphicFrame>
        <p:nvGraphicFramePr>
          <p:cNvPr id="76" name="Object 75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417637" y="1651188"/>
          <a:ext cx="3027362" cy="1787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8" name="Chart" r:id="rId40" imgW="3032868" imgH="1790628" progId="MSGraph.Chart.8">
                  <p:embed followColorScheme="full"/>
                </p:oleObj>
              </mc:Choice>
              <mc:Fallback>
                <p:oleObj name="Chart" r:id="rId40" imgW="3032868" imgH="1790628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1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17637" y="1651188"/>
                        <a:ext cx="3027362" cy="17875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4" name="Rectangle 93"/>
          <p:cNvSpPr/>
          <p:nvPr>
            <p:custDataLst>
              <p:tags r:id="rId8"/>
            </p:custDataLst>
          </p:nvPr>
        </p:nvSpPr>
        <p:spPr bwMode="auto">
          <a:xfrm>
            <a:off x="847725" y="3113276"/>
            <a:ext cx="252412" cy="122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AFC1937-770C-4C12-9C91-36D472AC9182}" type="datetime'''''''''''''S''''t''''''''''''''''''''ata'''''''''''">
              <a:rPr lang="en-US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Stata</a:t>
            </a:fld>
            <a:endParaRPr lang="en-US" sz="80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5" name="Rectangle 94"/>
          <p:cNvSpPr/>
          <p:nvPr>
            <p:custDataLst>
              <p:tags r:id="rId9"/>
            </p:custDataLst>
          </p:nvPr>
        </p:nvSpPr>
        <p:spPr bwMode="auto">
          <a:xfrm>
            <a:off x="2957512" y="3113276"/>
            <a:ext cx="233362" cy="122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14287" tIns="0" rIns="14287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F7577212-31C6-4824-ABDC-AB781765CB3A}" type="datetime'''1''''''''''''''''''''''''''''0''''''%'''''''''''''''''''''">
              <a:rPr lang="en-US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>
                <a:spcBef>
                  <a:spcPct val="0"/>
                </a:spcBef>
                <a:spcAft>
                  <a:spcPct val="0"/>
                </a:spcAft>
              </a:pPr>
              <a:t>10%</a:t>
            </a:fld>
            <a:endParaRPr lang="en-US" sz="80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2" name="Rectangle 91"/>
          <p:cNvSpPr/>
          <p:nvPr>
            <p:custDataLst>
              <p:tags r:id="rId10"/>
            </p:custDataLst>
          </p:nvPr>
        </p:nvSpPr>
        <p:spPr bwMode="auto">
          <a:xfrm>
            <a:off x="787400" y="2794188"/>
            <a:ext cx="312737" cy="122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33357E2F-80AD-4334-8A39-4DBFFEDE9BED}" type="datetime'''''''''''''''''''''''''S''-''''''P''l''''''''''u''''s'''''">
              <a:rPr lang="en-US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S-Plus</a:t>
            </a:fld>
            <a:endParaRPr lang="en-US" sz="80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3" name="Rectangle 92"/>
          <p:cNvSpPr/>
          <p:nvPr>
            <p:custDataLst>
              <p:tags r:id="rId11"/>
            </p:custDataLst>
          </p:nvPr>
        </p:nvSpPr>
        <p:spPr bwMode="auto">
          <a:xfrm>
            <a:off x="2576512" y="2794188"/>
            <a:ext cx="176212" cy="122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14287" tIns="0" rIns="14287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C432B7EE-0C73-4B10-A185-C1BA539705C8}" type="datetime'''''''''''''''''''''0''''%'''''''''''''''''''''''''">
              <a:rPr lang="en-US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>
                <a:spcBef>
                  <a:spcPct val="0"/>
                </a:spcBef>
                <a:spcAft>
                  <a:spcPct val="0"/>
                </a:spcAft>
              </a:pPr>
              <a:t>0%</a:t>
            </a:fld>
            <a:endParaRPr lang="en-US" sz="80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0" name="Rectangle 89"/>
          <p:cNvSpPr/>
          <p:nvPr>
            <p:custDataLst>
              <p:tags r:id="rId12"/>
            </p:custDataLst>
          </p:nvPr>
        </p:nvSpPr>
        <p:spPr bwMode="auto">
          <a:xfrm>
            <a:off x="814387" y="2475101"/>
            <a:ext cx="285750" cy="122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6F29F903-27D9-4407-AE65-F203AF1E569F}" type="datetime'''''''''''''''''''S''''''''''PS''''''''''''''''S'''''''''''">
              <a:rPr lang="en-US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SPSS</a:t>
            </a:fld>
            <a:endParaRPr lang="en-US" sz="80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1" name="Rectangle 90"/>
          <p:cNvSpPr/>
          <p:nvPr>
            <p:custDataLst>
              <p:tags r:id="rId13"/>
            </p:custDataLst>
          </p:nvPr>
        </p:nvSpPr>
        <p:spPr bwMode="auto">
          <a:xfrm>
            <a:off x="1220787" y="2475101"/>
            <a:ext cx="266700" cy="122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14287" tIns="0" rIns="14287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979244C-61BC-4F20-BDCA-9C7B3BEF8056}" type="datetime'''''''''''''''''''''''''''''''''''''''-''''''2''''''''7%'">
              <a:rPr lang="en-US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-27%</a:t>
            </a:fld>
            <a:endParaRPr lang="en-US" sz="80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88" name="Rectangle 87"/>
          <p:cNvSpPr/>
          <p:nvPr>
            <p:custDataLst>
              <p:tags r:id="rId14"/>
            </p:custDataLst>
          </p:nvPr>
        </p:nvSpPr>
        <p:spPr bwMode="auto">
          <a:xfrm>
            <a:off x="882650" y="2156013"/>
            <a:ext cx="217487" cy="122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84F11029-F235-4AFF-8D3A-DE30ABBFC4F5}" type="datetime'''''S''''''''''''''A''''''''''S'">
              <a:rPr lang="en-US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SAS</a:t>
            </a:fld>
            <a:endParaRPr lang="en-US" sz="80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89" name="Rectangle 88"/>
          <p:cNvSpPr/>
          <p:nvPr>
            <p:custDataLst>
              <p:tags r:id="rId15"/>
            </p:custDataLst>
          </p:nvPr>
        </p:nvSpPr>
        <p:spPr bwMode="auto">
          <a:xfrm>
            <a:off x="1820862" y="2156013"/>
            <a:ext cx="266700" cy="122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14287" tIns="0" rIns="14287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1871FB8-2A15-41D0-B395-545AFD709350}" type="datetime'''''''-''''1''''''''''''''''''''''1''%'''''">
              <a:rPr lang="en-US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-11%</a:t>
            </a:fld>
            <a:endParaRPr lang="en-US" sz="80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80" name="Rectangle 79"/>
          <p:cNvSpPr/>
          <p:nvPr>
            <p:custDataLst>
              <p:tags r:id="rId16"/>
            </p:custDataLst>
          </p:nvPr>
        </p:nvSpPr>
        <p:spPr bwMode="auto">
          <a:xfrm>
            <a:off x="1014412" y="1836926"/>
            <a:ext cx="85725" cy="122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6E5299EF-EDE9-4B29-A01E-E067290A692F}" type="datetime'''''''''''''R'''''''''">
              <a:rPr lang="en-US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R</a:t>
            </a:fld>
            <a:endParaRPr lang="en-US" sz="80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87" name="Rectangle 86"/>
          <p:cNvSpPr/>
          <p:nvPr>
            <p:custDataLst>
              <p:tags r:id="rId17"/>
            </p:custDataLst>
          </p:nvPr>
        </p:nvSpPr>
        <p:spPr bwMode="auto">
          <a:xfrm>
            <a:off x="4414838" y="1838513"/>
            <a:ext cx="233362" cy="122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14287" tIns="0" rIns="14287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7376962E-5877-4111-AF23-DB08C7DCA1D0}" type="datetime'''''4''''''''''''''''''''''''''''6''''%'">
              <a:rPr lang="en-US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>
                <a:spcBef>
                  <a:spcPct val="0"/>
                </a:spcBef>
                <a:spcAft>
                  <a:spcPct val="0"/>
                </a:spcAft>
              </a:pPr>
              <a:t>46%</a:t>
            </a:fld>
            <a:endParaRPr lang="en-US" sz="80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3" name="TextBox 112"/>
          <p:cNvSpPr txBox="1"/>
          <p:nvPr>
            <p:custDataLst>
              <p:tags r:id="rId18"/>
            </p:custDataLst>
          </p:nvPr>
        </p:nvSpPr>
        <p:spPr>
          <a:xfrm>
            <a:off x="685800" y="1219200"/>
            <a:ext cx="2743200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Scholarly Activity</a:t>
            </a:r>
          </a:p>
          <a:p>
            <a:pPr lvl="1"/>
            <a:r>
              <a:rPr lang="en-US" sz="1000" i="1" dirty="0" smtClean="0"/>
              <a:t>Google Scholar hits (’05-’09 CAGR)</a:t>
            </a:r>
            <a:endParaRPr lang="en-US" sz="1000" b="1" dirty="0"/>
          </a:p>
        </p:txBody>
      </p:sp>
      <p:cxnSp>
        <p:nvCxnSpPr>
          <p:cNvPr id="45" name="Straight Connector 44"/>
          <p:cNvCxnSpPr/>
          <p:nvPr>
            <p:custDataLst>
              <p:tags r:id="rId19"/>
            </p:custDataLst>
          </p:nvPr>
        </p:nvCxnSpPr>
        <p:spPr bwMode="auto">
          <a:xfrm flipV="1">
            <a:off x="3678237" y="5857875"/>
            <a:ext cx="0" cy="42863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>
            <p:custDataLst>
              <p:tags r:id="rId20"/>
            </p:custDataLst>
          </p:nvPr>
        </p:nvCxnSpPr>
        <p:spPr bwMode="auto">
          <a:xfrm flipV="1">
            <a:off x="3144837" y="5857875"/>
            <a:ext cx="0" cy="42863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>
            <p:custDataLst>
              <p:tags r:id="rId21"/>
            </p:custDataLst>
          </p:nvPr>
        </p:nvCxnSpPr>
        <p:spPr bwMode="auto">
          <a:xfrm flipV="1">
            <a:off x="2601912" y="5857875"/>
            <a:ext cx="0" cy="42863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>
            <p:custDataLst>
              <p:tags r:id="rId22"/>
            </p:custDataLst>
          </p:nvPr>
        </p:nvCxnSpPr>
        <p:spPr bwMode="auto">
          <a:xfrm flipV="1">
            <a:off x="2068512" y="5857875"/>
            <a:ext cx="0" cy="42863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>
            <p:custDataLst>
              <p:tags r:id="rId23"/>
            </p:custDataLst>
          </p:nvPr>
        </p:nvCxnSpPr>
        <p:spPr bwMode="auto">
          <a:xfrm flipV="1">
            <a:off x="1525587" y="5857875"/>
            <a:ext cx="0" cy="42863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52" name="Object 51"/>
          <p:cNvGraphicFramePr>
            <a:graphicFrameLocks noChangeAspect="1"/>
          </p:cNvGraphicFramePr>
          <p:nvPr>
            <p:custDataLst>
              <p:tags r:id="rId24"/>
            </p:custDataLst>
          </p:nvPr>
        </p:nvGraphicFramePr>
        <p:xfrm>
          <a:off x="715962" y="4057650"/>
          <a:ext cx="3419550" cy="2000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9" name="Chart" r:id="rId42" imgW="3421326" imgH="2004132" progId="MSGraph.Chart.8">
                  <p:embed followColorScheme="full"/>
                </p:oleObj>
              </mc:Choice>
              <mc:Fallback>
                <p:oleObj name="Chart" r:id="rId42" imgW="3421326" imgH="2004132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3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15962" y="4057650"/>
                        <a:ext cx="3419550" cy="20002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tangle 54"/>
          <p:cNvSpPr/>
          <p:nvPr>
            <p:custDataLst>
              <p:tags r:id="rId25"/>
            </p:custDataLst>
          </p:nvPr>
        </p:nvSpPr>
        <p:spPr bwMode="auto">
          <a:xfrm>
            <a:off x="3538537" y="5975350"/>
            <a:ext cx="279400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 anchorCtr="0">
            <a:noAutofit/>
          </a:bodyPr>
          <a:lstStyle/>
          <a:p>
            <a:pPr algn="ctr"/>
            <a:fld id="{C2EBBE96-8B58-44E8-8471-A61B1A2DBCCB}" type="datetime'''''''''''''''2''''''0''''''''''1''''''''''0'">
              <a:rPr lang="en-US" sz="10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/>
              <a:t>2010</a:t>
            </a:fld>
            <a:endParaRPr lang="en-US" sz="100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7" name="Rectangle 56"/>
          <p:cNvSpPr/>
          <p:nvPr>
            <p:custDataLst>
              <p:tags r:id="rId26"/>
            </p:custDataLst>
          </p:nvPr>
        </p:nvSpPr>
        <p:spPr bwMode="auto">
          <a:xfrm>
            <a:off x="3005137" y="5975350"/>
            <a:ext cx="279400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 anchorCtr="0">
            <a:noAutofit/>
          </a:bodyPr>
          <a:lstStyle/>
          <a:p>
            <a:pPr algn="ctr"/>
            <a:fld id="{FAD03D82-F35D-4C46-A8CB-202AE2FF1498}" type="datetime'''''2''0''0''''''''''8'''''''''''''''">
              <a:rPr lang="en-US" sz="10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/>
              <a:t>2008</a:t>
            </a:fld>
            <a:endParaRPr lang="en-US" sz="100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4" name="Rectangle 53"/>
          <p:cNvSpPr/>
          <p:nvPr>
            <p:custDataLst>
              <p:tags r:id="rId27"/>
            </p:custDataLst>
          </p:nvPr>
        </p:nvSpPr>
        <p:spPr bwMode="auto">
          <a:xfrm>
            <a:off x="2462212" y="5975350"/>
            <a:ext cx="279400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 anchorCtr="0">
            <a:noAutofit/>
          </a:bodyPr>
          <a:lstStyle/>
          <a:p>
            <a:pPr algn="ctr"/>
            <a:fld id="{DF4640ED-1F29-4F91-9FBB-B38B6B4CD548}" type="datetime'''''''''''2''''0''''''''''''''''''''''''''0''''''''6'''''''">
              <a:rPr lang="en-US" sz="10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/>
              <a:t>2006</a:t>
            </a:fld>
            <a:endParaRPr lang="en-US" sz="100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3" name="Rectangle 52"/>
          <p:cNvSpPr/>
          <p:nvPr>
            <p:custDataLst>
              <p:tags r:id="rId28"/>
            </p:custDataLst>
          </p:nvPr>
        </p:nvSpPr>
        <p:spPr bwMode="auto">
          <a:xfrm>
            <a:off x="1928812" y="5975350"/>
            <a:ext cx="279400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 anchorCtr="0">
            <a:noAutofit/>
          </a:bodyPr>
          <a:lstStyle/>
          <a:p>
            <a:pPr algn="ctr"/>
            <a:fld id="{62F7274D-76A2-4802-BC0C-CE4083A8BEED}" type="datetime'''''''''''''''''''''''''''2''00''4'''''''''''">
              <a:rPr lang="en-US" sz="10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/>
              <a:t>2004</a:t>
            </a:fld>
            <a:endParaRPr lang="en-US" sz="100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6" name="Rectangle 55"/>
          <p:cNvSpPr/>
          <p:nvPr>
            <p:custDataLst>
              <p:tags r:id="rId29"/>
            </p:custDataLst>
          </p:nvPr>
        </p:nvSpPr>
        <p:spPr bwMode="auto">
          <a:xfrm>
            <a:off x="1385887" y="5975350"/>
            <a:ext cx="279400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 anchorCtr="0">
            <a:noAutofit/>
          </a:bodyPr>
          <a:lstStyle/>
          <a:p>
            <a:pPr algn="ctr"/>
            <a:fld id="{582EC033-137A-4D6B-8770-1EA2F2ED2A4D}" type="datetime'''2''''''''''''''''''''''''''''''''00''''2'''''''''">
              <a:rPr lang="en-US" sz="10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/>
              <a:t>2002</a:t>
            </a:fld>
            <a:endParaRPr lang="en-US" sz="100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2" name="TextBox 61"/>
          <p:cNvSpPr txBox="1"/>
          <p:nvPr>
            <p:custDataLst>
              <p:tags r:id="rId30"/>
            </p:custDataLst>
          </p:nvPr>
        </p:nvSpPr>
        <p:spPr>
          <a:xfrm>
            <a:off x="639763" y="3581400"/>
            <a:ext cx="3932237" cy="43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Package Growth</a:t>
            </a:r>
          </a:p>
          <a:p>
            <a:pPr lvl="1"/>
            <a:r>
              <a:rPr lang="en-US" sz="1000" i="1" dirty="0" smtClean="0"/>
              <a:t>Number of R packages listed on CRAN</a:t>
            </a:r>
            <a:endParaRPr lang="en-US" sz="1000" i="1" dirty="0"/>
          </a:p>
        </p:txBody>
      </p:sp>
      <p:cxnSp>
        <p:nvCxnSpPr>
          <p:cNvPr id="63" name="Straight Connector 62"/>
          <p:cNvCxnSpPr/>
          <p:nvPr>
            <p:custDataLst>
              <p:tags r:id="rId31"/>
            </p:custDataLst>
          </p:nvPr>
        </p:nvCxnSpPr>
        <p:spPr>
          <a:xfrm flipV="1">
            <a:off x="639764" y="4017963"/>
            <a:ext cx="3911017" cy="4092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>
            <p:custDataLst>
              <p:tags r:id="rId32"/>
            </p:custDataLst>
          </p:nvPr>
        </p:nvCxnSpPr>
        <p:spPr>
          <a:xfrm flipV="1">
            <a:off x="737183" y="1665476"/>
            <a:ext cx="3911017" cy="4092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7" name="Rounded Rectangular Callout 66"/>
          <p:cNvSpPr/>
          <p:nvPr>
            <p:custDataLst>
              <p:tags r:id="rId33"/>
            </p:custDataLst>
          </p:nvPr>
        </p:nvSpPr>
        <p:spPr>
          <a:xfrm>
            <a:off x="5410200" y="4038600"/>
            <a:ext cx="3200400" cy="1524000"/>
          </a:xfrm>
          <a:prstGeom prst="wedgeRoundRectCallout">
            <a:avLst>
              <a:gd name="adj1" fmla="val -43256"/>
              <a:gd name="adj2" fmla="val 61741"/>
              <a:gd name="adj3" fmla="val 16667"/>
            </a:avLst>
          </a:prstGeom>
          <a:gradFill>
            <a:gsLst>
              <a:gs pos="3600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5400000" scaled="0"/>
          </a:gradFill>
          <a:ln>
            <a:gradFill>
              <a:gsLst>
                <a:gs pos="5000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5400000" scaled="0"/>
            </a:gradFill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2"/>
                </a:solidFill>
              </a:rPr>
              <a:t>“A key benefit of R is that it provides near-instant availability of new and experimental methods created by its user base — without waiting for the development/release cycle of commercial software. SAS recognizes the value of R to our customer base…” 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68" name="TextBox 67"/>
          <p:cNvSpPr txBox="1"/>
          <p:nvPr>
            <p:custDataLst>
              <p:tags r:id="rId34"/>
            </p:custDataLst>
          </p:nvPr>
        </p:nvSpPr>
        <p:spPr>
          <a:xfrm>
            <a:off x="5410200" y="5791200"/>
            <a:ext cx="32004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smtClean="0"/>
              <a:t>Product Marketing Manager SAS Institute, Inc</a:t>
            </a:r>
            <a:endParaRPr lang="en-US" sz="1100" dirty="0"/>
          </a:p>
        </p:txBody>
      </p:sp>
      <p:sp>
        <p:nvSpPr>
          <p:cNvPr id="69" name="Rounded Rectangular Callout 68"/>
          <p:cNvSpPr/>
          <p:nvPr>
            <p:custDataLst>
              <p:tags r:id="rId35"/>
            </p:custDataLst>
          </p:nvPr>
        </p:nvSpPr>
        <p:spPr>
          <a:xfrm>
            <a:off x="5410200" y="1609913"/>
            <a:ext cx="3200400" cy="1524000"/>
          </a:xfrm>
          <a:prstGeom prst="wedgeRoundRectCallout">
            <a:avLst>
              <a:gd name="adj1" fmla="val -43256"/>
              <a:gd name="adj2" fmla="val 61741"/>
              <a:gd name="adj3" fmla="val 16667"/>
            </a:avLst>
          </a:prstGeom>
          <a:gradFill>
            <a:gsLst>
              <a:gs pos="3600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5400000" scaled="0"/>
          </a:gradFill>
          <a:ln>
            <a:gradFill>
              <a:gsLst>
                <a:gs pos="5000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5400000" scaled="0"/>
            </a:gradFill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2"/>
                </a:solidFill>
              </a:rPr>
              <a:t>“I’ve been astonished by the rate at which R has been adopted. Four years ago, everyone in my economics department [at the University of Chicago] was using </a:t>
            </a:r>
            <a:r>
              <a:rPr lang="en-US" sz="1200" dirty="0" err="1" smtClean="0">
                <a:solidFill>
                  <a:schemeClr val="tx2"/>
                </a:solidFill>
              </a:rPr>
              <a:t>Stata</a:t>
            </a:r>
            <a:r>
              <a:rPr lang="en-US" sz="1200" dirty="0" smtClean="0">
                <a:solidFill>
                  <a:schemeClr val="tx2"/>
                </a:solidFill>
              </a:rPr>
              <a:t>; now, as far as I can tell, R is the standard tool, and students learn it first.” 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70" name="TextBox 69"/>
          <p:cNvSpPr txBox="1"/>
          <p:nvPr>
            <p:custDataLst>
              <p:tags r:id="rId36"/>
            </p:custDataLst>
          </p:nvPr>
        </p:nvSpPr>
        <p:spPr>
          <a:xfrm>
            <a:off x="5410200" y="3329503"/>
            <a:ext cx="32004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smtClean="0"/>
              <a:t>Deputy Editor for New Products at Forbes</a:t>
            </a:r>
            <a:endParaRPr lang="en-US" sz="1100" dirty="0"/>
          </a:p>
        </p:txBody>
      </p:sp>
      <p:sp>
        <p:nvSpPr>
          <p:cNvPr id="39" name="Footer Placeholder 115"/>
          <p:cNvSpPr>
            <a:spLocks noGrp="1"/>
          </p:cNvSpPr>
          <p:nvPr>
            <p:ph type="ftr" sz="quarter" idx="11"/>
            <p:custDataLst>
              <p:tags r:id="rId37"/>
            </p:custDataLst>
          </p:nvPr>
        </p:nvSpPr>
        <p:spPr>
          <a:xfrm>
            <a:off x="3480375" y="6356350"/>
            <a:ext cx="4578370" cy="365125"/>
          </a:xfrm>
        </p:spPr>
        <p:txBody>
          <a:bodyPr/>
          <a:lstStyle/>
          <a:p>
            <a:r>
              <a:rPr lang="en-US" dirty="0" smtClean="0"/>
              <a:t>Source: </a:t>
            </a:r>
            <a:r>
              <a:rPr lang="en-US" dirty="0" smtClean="0">
                <a:hlinkClick r:id="rId44"/>
              </a:rPr>
              <a:t>http://r4stats.com/popularity</a:t>
            </a:r>
            <a:r>
              <a:rPr lang="en-US" dirty="0" smtClean="0"/>
              <a:t>; “Why R is a name to know in 2011”, Forbes</a:t>
            </a:r>
            <a:endParaRPr lang="en-US" dirty="0"/>
          </a:p>
        </p:txBody>
      </p:sp>
      <p:pic>
        <p:nvPicPr>
          <p:cNvPr id="44" name="Picture 2"/>
          <p:cNvPicPr>
            <a:picLocks noChangeAspect="1" noChangeArrowheads="1"/>
          </p:cNvPicPr>
          <p:nvPr/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387" y="273207"/>
            <a:ext cx="952500" cy="723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97161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709" y="196238"/>
            <a:ext cx="8631481" cy="1099162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R is the Preferred </a:t>
            </a:r>
            <a:r>
              <a:rPr lang="en-US" dirty="0"/>
              <a:t>T</a:t>
            </a:r>
            <a:r>
              <a:rPr lang="en-US" dirty="0" smtClean="0"/>
              <a:t>ool </a:t>
            </a:r>
            <a:br>
              <a:rPr lang="en-US" dirty="0" smtClean="0"/>
            </a:br>
            <a:r>
              <a:rPr lang="en-US" dirty="0" smtClean="0"/>
              <a:t>for Predictive Modeler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8490" y="5562600"/>
            <a:ext cx="3429000" cy="990600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 smtClean="0"/>
              <a:t>Read More</a:t>
            </a:r>
            <a:endParaRPr lang="en-US" sz="1600" dirty="0" smtClean="0">
              <a:hlinkClick r:id="rId2"/>
            </a:endParaRPr>
          </a:p>
          <a:p>
            <a:r>
              <a:rPr lang="en-US" sz="1600" dirty="0" smtClean="0">
                <a:hlinkClick r:id="rId2"/>
              </a:rPr>
              <a:t>Predictive Analytics</a:t>
            </a:r>
            <a:endParaRPr lang="en-US" sz="1600" dirty="0" smtClean="0"/>
          </a:p>
          <a:p>
            <a:r>
              <a:rPr lang="en-US" sz="1600" dirty="0" smtClean="0">
                <a:hlinkClick r:id="rId3"/>
              </a:rPr>
              <a:t>No Free Lunch</a:t>
            </a:r>
            <a:endParaRPr lang="en-US" sz="1600" dirty="0" smtClean="0"/>
          </a:p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60A39-4AFD-43E9-A649-069B6F615F5B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5000" y="1295400"/>
            <a:ext cx="5706980" cy="4023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84248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7800" y="196238"/>
            <a:ext cx="7442390" cy="932715"/>
          </a:xfrm>
        </p:spPr>
        <p:txBody>
          <a:bodyPr/>
          <a:lstStyle/>
          <a:p>
            <a:r>
              <a:rPr lang="en-US" dirty="0" smtClean="0"/>
              <a:t>What can you do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709" y="1339238"/>
            <a:ext cx="2636891" cy="4922488"/>
          </a:xfrm>
        </p:spPr>
        <p:txBody>
          <a:bodyPr>
            <a:normAutofit/>
          </a:bodyPr>
          <a:lstStyle/>
          <a:p>
            <a:r>
              <a:rPr lang="en-US" sz="2400" dirty="0" smtClean="0">
                <a:hlinkClick r:id="rId5"/>
              </a:rPr>
              <a:t>Data Handling</a:t>
            </a:r>
            <a:endParaRPr lang="en-US" sz="2400" dirty="0" smtClean="0"/>
          </a:p>
          <a:p>
            <a:r>
              <a:rPr lang="en-US" sz="2400" dirty="0" smtClean="0">
                <a:hlinkClick r:id="rId6"/>
              </a:rPr>
              <a:t>Statistics</a:t>
            </a:r>
            <a:endParaRPr lang="en-US" sz="2400" dirty="0" smtClean="0"/>
          </a:p>
          <a:p>
            <a:r>
              <a:rPr lang="en-US" sz="2400" dirty="0" smtClean="0">
                <a:hlinkClick r:id="rId7"/>
              </a:rPr>
              <a:t>Algorithms</a:t>
            </a:r>
            <a:endParaRPr lang="en-US" sz="2400" dirty="0" smtClean="0"/>
          </a:p>
          <a:p>
            <a:r>
              <a:rPr lang="en-US" sz="2400" dirty="0" smtClean="0">
                <a:hlinkClick r:id="rId8"/>
              </a:rPr>
              <a:t>Visualization</a:t>
            </a:r>
            <a:endParaRPr lang="en-US" sz="2400" dirty="0" smtClean="0"/>
          </a:p>
          <a:p>
            <a:r>
              <a:rPr lang="en-US" sz="2400" dirty="0" smtClean="0">
                <a:hlinkClick r:id="rId9"/>
              </a:rPr>
              <a:t>Reproducible research </a:t>
            </a:r>
            <a:endParaRPr lang="en-US" sz="2400" dirty="0" smtClean="0"/>
          </a:p>
          <a:p>
            <a:r>
              <a:rPr lang="en-US" sz="2400" dirty="0" smtClean="0"/>
              <a:t>And more</a:t>
            </a:r>
            <a:endParaRPr lang="en-US" sz="24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60A39-4AFD-43E9-A649-069B6F615F5B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6" name="Picture 2" descr="http://paulbutler.org/wp-content/uploads/2010/12/163413_479288597199_9445547199_5658562_14158417_n-1024x509.png">
            <a:hlinkClick r:id="rId10"/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1620" y="1131276"/>
            <a:ext cx="5618074" cy="2792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2"/>
          <a:srcRect l="11798" t="18000" r="18000" b="18000"/>
          <a:stretch>
            <a:fillRect/>
          </a:stretch>
        </p:blipFill>
        <p:spPr bwMode="auto">
          <a:xfrm>
            <a:off x="2667000" y="4114800"/>
            <a:ext cx="2680046" cy="2443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" name="Picture 2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5740657" y="3962400"/>
            <a:ext cx="2456071" cy="24517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354290"/>
            <a:ext cx="952500" cy="723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27883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&gt;&lt;key val=&quot;0&quot;/&gt;&lt;elem&gt;&lt;m_nPartnerID val=&quot;530&quot;/&gt;&lt;m_nIndex val=&quot;4&quot;/&gt;&lt;/elem&gt;&lt;key val=&quot;1&quot;/&gt;&lt;elem&gt;&lt;m_nPartnerID val=&quot;530&quot;/&gt;&lt;m_nIndex val=&quot;4&quot;/&gt;&lt;/elem&gt;&lt;key val=&quot;2&quot;/&gt;&lt;elem&gt;&lt;m_nPartnerID val=&quot;530&quot;/&gt;&lt;m_nIndex val=&quot;4&quot;/&gt;&lt;/elem&gt;&lt;key val=&quot;4&quot;/&gt;&lt;elem&gt;&lt;m_nPartnerID val=&quot;530&quot;/&gt;&lt;m_nIndex val=&quot;4&quot;/&gt;&lt;/elem&gt;&lt;key val=&quot;6&quot;/&gt;&lt;elem&gt;&lt;m_nPartnerID val=&quot;530&quot;/&gt;&lt;m_nIndex val=&quot;4&quot;/&gt;&lt;/elem&gt;&lt;/m_mapectfillschemeMRU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2147483647&quot;/&gt;&lt;m_chDecimalSymbol17909&gt;.&lt;/m_chDecimalSymbol17909&gt;&lt;m_nGroupingDigits17909 val=&quot;2147483647&quot;/&gt;&lt;/m_precDefault&gt;&lt;/CDefaultPrec&gt;&lt;/root&gt;"/>
  <p:tag name="THINKCELLUNDODONOTDELETE" val="158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XNvhVP2UCgaWt8AAOka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KqqqbVckqDzK9J2MOlw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6S_RxkF0aLdZuHZCvsE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LtQg232EiwJeNwEI9r8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6yV8PBZEm66jP7S8HtP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e.6aUYe0WjjNhLG.FkP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lsZjjWCUemeTFuoB14p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YzYpVNMk6KeAJ4Lx_FL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.eYBNSb0iUByHW25m2J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aKC_eeikWuKQpsFnUZ_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05nmymIE._rOvkikSPf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n7Ck9TEECUbimbZJrQD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QoWdXsP0qA5w0iOdy_k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fmfFlyWEKV23_zyHAbC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JGkMlFwUarkJrfyVWrP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bOTZVuyUaCgzpE38iEU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ubd0cMykG6oz.4w3Qcj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..3GlikeQ7SAPinXCR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KyUHwR0EaN6eD6xrqSP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56ImbAskuGvjc1tZO.4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c_x1VM1U6lShL8aHwPm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2sLaXoV0CNTe0SWytlG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co3xxcpF0iIccOUQdQGz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nzPerJhUiveMoJ_A62J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F81tdDSEW15IzUbSfTk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dJMpdcYkKJNiAelxKFh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_9coh79kit8q2eMGmL5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FJeDnAdkiR6gpC3O0_j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B1liKAL0.8dDudFt2Iv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olrPUYM0GxslG0YUBws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roiRzo10milSsflaDBV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FgVxDeL0WaEwiBP9QF2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rG5rYHbUWf4a_dHTo67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AtkPvU0etbwIoUnTcq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lerod9R0eG3Q9FHjLv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fppGRURk2ldbI4nz0Y7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yt.WnPkU6jduoZMeBV0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K_A_Q610i17HJSiW2WQA"/>
</p:tagLst>
</file>

<file path=ppt/theme/theme1.xml><?xml version="1.0" encoding="utf-8"?>
<a:theme xmlns:a="http://schemas.openxmlformats.org/drawingml/2006/main" name="RA_ corp3 template jpe v2">
  <a:themeElements>
    <a:clrScheme name="Revolution Palette 1">
      <a:dk1>
        <a:sysClr val="windowText" lastClr="000000"/>
      </a:dk1>
      <a:lt1>
        <a:sysClr val="window" lastClr="FFFFFF"/>
      </a:lt1>
      <a:dk2>
        <a:srgbClr val="3A497A"/>
      </a:dk2>
      <a:lt2>
        <a:srgbClr val="A6A6A6"/>
      </a:lt2>
      <a:accent1>
        <a:srgbClr val="FF6600"/>
      </a:accent1>
      <a:accent2>
        <a:srgbClr val="F07F09"/>
      </a:accent2>
      <a:accent3>
        <a:srgbClr val="3A497A"/>
      </a:accent3>
      <a:accent4>
        <a:srgbClr val="497198"/>
      </a:accent4>
      <a:accent5>
        <a:srgbClr val="6B754D"/>
      </a:accent5>
      <a:accent6>
        <a:srgbClr val="BAAD8D"/>
      </a:accent6>
      <a:hlink>
        <a:srgbClr val="3A497A"/>
      </a:hlink>
      <a:folHlink>
        <a:srgbClr val="FF66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A_ corp3 template jpe v2</Template>
  <TotalTime>60576</TotalTime>
  <Words>1440</Words>
  <Application>Microsoft Office PowerPoint</Application>
  <PresentationFormat>On-screen Show (4:3)</PresentationFormat>
  <Paragraphs>327</Paragraphs>
  <Slides>35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5</vt:i4>
      </vt:variant>
    </vt:vector>
  </HeadingPairs>
  <TitlesOfParts>
    <vt:vector size="38" baseType="lpstr">
      <vt:lpstr>RA_ corp3 template jpe v2</vt:lpstr>
      <vt:lpstr>think-cell Slide</vt:lpstr>
      <vt:lpstr>Chart</vt:lpstr>
      <vt:lpstr>PowerPoint Presentation</vt:lpstr>
      <vt:lpstr>Agenda</vt:lpstr>
      <vt:lpstr>The R Language</vt:lpstr>
      <vt:lpstr>the premier language for statistics and statistical computing </vt:lpstr>
      <vt:lpstr>An Open Source Project</vt:lpstr>
      <vt:lpstr>How R is organized</vt:lpstr>
      <vt:lpstr>Exponential Growth</vt:lpstr>
      <vt:lpstr>R is the Preferred Tool  for Predictive Modelers</vt:lpstr>
      <vt:lpstr>What can you do?</vt:lpstr>
      <vt:lpstr>Where we can go today</vt:lpstr>
      <vt:lpstr>Introductory R Scripts</vt:lpstr>
      <vt:lpstr>Working with data</vt:lpstr>
      <vt:lpstr>Working with Data R Scripts</vt:lpstr>
      <vt:lpstr>Basic Statistics </vt:lpstr>
      <vt:lpstr>Basic Statistics R Scripts</vt:lpstr>
      <vt:lpstr>Data mining with r</vt:lpstr>
      <vt:lpstr>Data Mining</vt:lpstr>
      <vt:lpstr>Data Mining R Scripts </vt:lpstr>
      <vt:lpstr>Data Mining R Scripts (continued)</vt:lpstr>
      <vt:lpstr>Big data</vt:lpstr>
      <vt:lpstr>The Big Data Hierarchy</vt:lpstr>
      <vt:lpstr>Big Data R Scripts</vt:lpstr>
      <vt:lpstr>Hadoop from R</vt:lpstr>
      <vt:lpstr>RHdoop</vt:lpstr>
      <vt:lpstr>RHadoop contains the following packages</vt:lpstr>
      <vt:lpstr>R and Hadoop – The R Packages</vt:lpstr>
      <vt:lpstr>Mapreduce similar to R </vt:lpstr>
      <vt:lpstr>First Mapreduce Job (Map step)</vt:lpstr>
      <vt:lpstr>Output from Map step</vt:lpstr>
      <vt:lpstr>Where to go from here?</vt:lpstr>
      <vt:lpstr>Look at some more sophisticated examples</vt:lpstr>
      <vt:lpstr>Continue to learn R</vt:lpstr>
      <vt:lpstr>Enter a Competition</vt:lpstr>
      <vt:lpstr>Get involved with the R Community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Jeff Erhardt</dc:creator>
  <cp:lastModifiedBy>Joseph</cp:lastModifiedBy>
  <cp:revision>513</cp:revision>
  <dcterms:created xsi:type="dcterms:W3CDTF">2010-05-23T23:11:35Z</dcterms:created>
  <dcterms:modified xsi:type="dcterms:W3CDTF">2012-02-21T23:01:57Z</dcterms:modified>
</cp:coreProperties>
</file>